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68" r:id="rId5"/>
  </p:sldMasterIdLst>
  <p:notesMasterIdLst>
    <p:notesMasterId r:id="rId14"/>
  </p:notesMasterIdLst>
  <p:sldIdLst>
    <p:sldId id="2080106573" r:id="rId6"/>
    <p:sldId id="2080106647" r:id="rId7"/>
    <p:sldId id="2080106648" r:id="rId8"/>
    <p:sldId id="259" r:id="rId9"/>
    <p:sldId id="2147474395" r:id="rId10"/>
    <p:sldId id="2080106649" r:id="rId11"/>
    <p:sldId id="2147474397" r:id="rId12"/>
    <p:sldId id="214747439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236DC9B-A21F-48A5-BDEE-31F75433A3D1}">
          <p14:sldIdLst>
            <p14:sldId id="2080106573"/>
            <p14:sldId id="2080106647"/>
            <p14:sldId id="2080106648"/>
            <p14:sldId id="259"/>
            <p14:sldId id="2147474395"/>
            <p14:sldId id="2080106649"/>
            <p14:sldId id="2147474397"/>
            <p14:sldId id="214747439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A2F7D"/>
    <a:srgbClr val="982881"/>
    <a:srgbClr val="632678"/>
    <a:srgbClr val="2749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68DDA2E-EDA6-487A-8A92-B3DA1F2AC4A6}" v="9" dt="2024-02-14T17:46:52.2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2" autoAdjust="0"/>
    <p:restoredTop sz="96197"/>
  </p:normalViewPr>
  <p:slideViewPr>
    <p:cSldViewPr snapToGrid="0">
      <p:cViewPr>
        <p:scale>
          <a:sx n="70" d="100"/>
          <a:sy n="70" d="100"/>
        </p:scale>
        <p:origin x="1003" y="6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a Veatch" userId="bcdc94fc-61ed-4da3-985a-171bf04c2499" providerId="ADAL" clId="{C68DDA2E-EDA6-487A-8A92-B3DA1F2AC4A6}"/>
    <pc:docChg chg="undo custSel addSld modSld modSection">
      <pc:chgData name="Anna Veatch" userId="bcdc94fc-61ed-4da3-985a-171bf04c2499" providerId="ADAL" clId="{C68DDA2E-EDA6-487A-8A92-B3DA1F2AC4A6}" dt="2024-02-14T17:49:27.597" v="562" actId="14100"/>
      <pc:docMkLst>
        <pc:docMk/>
      </pc:docMkLst>
      <pc:sldChg chg="addSp delSp modSp new mod">
        <pc:chgData name="Anna Veatch" userId="bcdc94fc-61ed-4da3-985a-171bf04c2499" providerId="ADAL" clId="{C68DDA2E-EDA6-487A-8A92-B3DA1F2AC4A6}" dt="2024-02-14T17:49:27.597" v="562" actId="14100"/>
        <pc:sldMkLst>
          <pc:docMk/>
          <pc:sldMk cId="4078371876" sldId="2147474397"/>
        </pc:sldMkLst>
        <pc:spChg chg="add del mod">
          <ac:chgData name="Anna Veatch" userId="bcdc94fc-61ed-4da3-985a-171bf04c2499" providerId="ADAL" clId="{C68DDA2E-EDA6-487A-8A92-B3DA1F2AC4A6}" dt="2024-02-14T17:38:00.025" v="3" actId="478"/>
          <ac:spMkLst>
            <pc:docMk/>
            <pc:sldMk cId="4078371876" sldId="2147474397"/>
            <ac:spMk id="2" creationId="{C2967A58-710A-C9FC-76FC-707B3D44766D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5" creationId="{C0EB41EA-E363-5BC6-BBDF-BF8077D2672F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8" creationId="{9569E4B4-CFD0-08DB-0B1E-7A06A045A935}"/>
          </ac:spMkLst>
        </pc:spChg>
        <pc:spChg chg="add del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9" creationId="{B484DF51-810D-BAD6-5E5D-88933C1A0F33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0" creationId="{9A1BE8D8-FD8C-79FD-B24A-E0CE485EADF2}"/>
          </ac:spMkLst>
        </pc:spChg>
        <pc:spChg chg="add del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1" creationId="{EE884086-E01C-D6CB-F47F-347B141F535F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2" creationId="{7E7AFE1F-7DB0-F94E-BFBD-F329C4D7AE46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3" creationId="{70E39A7A-21F6-B484-CE2A-37D00F153976}"/>
          </ac:spMkLst>
        </pc:spChg>
        <pc:spChg chg="add mod">
          <ac:chgData name="Anna Veatch" userId="bcdc94fc-61ed-4da3-985a-171bf04c2499" providerId="ADAL" clId="{C68DDA2E-EDA6-487A-8A92-B3DA1F2AC4A6}" dt="2024-02-14T17:49:27.597" v="562" actId="14100"/>
          <ac:spMkLst>
            <pc:docMk/>
            <pc:sldMk cId="4078371876" sldId="2147474397"/>
            <ac:spMk id="14" creationId="{3E8C1B53-9CAF-DF3C-B25F-ABC5F8D74F08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5" creationId="{E931A3BB-50DA-9FB4-7724-07279FA4824E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6" creationId="{07B39E4F-7F64-8093-2FAE-14369C6A4E0C}"/>
          </ac:spMkLst>
        </pc:spChg>
        <pc:spChg chg="add mod">
          <ac:chgData name="Anna Veatch" userId="bcdc94fc-61ed-4da3-985a-171bf04c2499" providerId="ADAL" clId="{C68DDA2E-EDA6-487A-8A92-B3DA1F2AC4A6}" dt="2024-02-14T17:47:59.369" v="504" actId="1035"/>
          <ac:spMkLst>
            <pc:docMk/>
            <pc:sldMk cId="4078371876" sldId="2147474397"/>
            <ac:spMk id="17" creationId="{64503FE2-61F9-4E7B-341D-9C7A67EC6B8A}"/>
          </ac:spMkLst>
        </pc:spChg>
        <pc:picChg chg="add mod modCrop">
          <ac:chgData name="Anna Veatch" userId="bcdc94fc-61ed-4da3-985a-171bf04c2499" providerId="ADAL" clId="{C68DDA2E-EDA6-487A-8A92-B3DA1F2AC4A6}" dt="2024-02-14T17:39:30.913" v="11" actId="732"/>
          <ac:picMkLst>
            <pc:docMk/>
            <pc:sldMk cId="4078371876" sldId="2147474397"/>
            <ac:picMk id="4" creationId="{76418DFC-2D71-FFC1-A51A-9CB239703EFF}"/>
          </ac:picMkLst>
        </pc:picChg>
        <pc:cxnChg chg="add mod">
          <ac:chgData name="Anna Veatch" userId="bcdc94fc-61ed-4da3-985a-171bf04c2499" providerId="ADAL" clId="{C68DDA2E-EDA6-487A-8A92-B3DA1F2AC4A6}" dt="2024-02-14T17:47:59.369" v="504" actId="1035"/>
          <ac:cxnSpMkLst>
            <pc:docMk/>
            <pc:sldMk cId="4078371876" sldId="2147474397"/>
            <ac:cxnSpMk id="7" creationId="{6A58E768-B4FD-F423-27FB-42ADBF38E779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928286307961498E-2"/>
          <c:y val="4.7046998031496097E-2"/>
          <c:w val="0.89572610838207001"/>
          <c:h val="0.835848671259842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 w="38100"/>
          </c:spPr>
          <c:invertIfNegative val="0"/>
          <c:cat>
            <c:numRef>
              <c:f>Sheet1!$A$2:$A$67</c:f>
              <c:numCache>
                <c:formatCode>General</c:formatCode>
                <c:ptCount val="66"/>
                <c:pt idx="0">
                  <c:v>1965</c:v>
                </c:pt>
                <c:pt idx="1">
                  <c:v>1966</c:v>
                </c:pt>
                <c:pt idx="2">
                  <c:v>1967</c:v>
                </c:pt>
                <c:pt idx="3">
                  <c:v>1968</c:v>
                </c:pt>
                <c:pt idx="4">
                  <c:v>1969</c:v>
                </c:pt>
                <c:pt idx="5">
                  <c:v>1970</c:v>
                </c:pt>
                <c:pt idx="6">
                  <c:v>1971</c:v>
                </c:pt>
                <c:pt idx="7">
                  <c:v>1972</c:v>
                </c:pt>
                <c:pt idx="8">
                  <c:v>1973</c:v>
                </c:pt>
                <c:pt idx="9">
                  <c:v>1974</c:v>
                </c:pt>
                <c:pt idx="10">
                  <c:v>1975</c:v>
                </c:pt>
                <c:pt idx="11">
                  <c:v>1976</c:v>
                </c:pt>
                <c:pt idx="12">
                  <c:v>1977</c:v>
                </c:pt>
                <c:pt idx="13">
                  <c:v>1978</c:v>
                </c:pt>
                <c:pt idx="14">
                  <c:v>1979</c:v>
                </c:pt>
                <c:pt idx="15">
                  <c:v>1980</c:v>
                </c:pt>
                <c:pt idx="16">
                  <c:v>1981</c:v>
                </c:pt>
                <c:pt idx="17">
                  <c:v>1982</c:v>
                </c:pt>
                <c:pt idx="18">
                  <c:v>1983</c:v>
                </c:pt>
                <c:pt idx="19">
                  <c:v>1984</c:v>
                </c:pt>
                <c:pt idx="20">
                  <c:v>1985</c:v>
                </c:pt>
                <c:pt idx="21">
                  <c:v>1986</c:v>
                </c:pt>
                <c:pt idx="22">
                  <c:v>1987</c:v>
                </c:pt>
                <c:pt idx="23">
                  <c:v>1988</c:v>
                </c:pt>
                <c:pt idx="24">
                  <c:v>1989</c:v>
                </c:pt>
                <c:pt idx="25">
                  <c:v>1990</c:v>
                </c:pt>
                <c:pt idx="26">
                  <c:v>1991</c:v>
                </c:pt>
                <c:pt idx="27">
                  <c:v>1992</c:v>
                </c:pt>
                <c:pt idx="28">
                  <c:v>1993</c:v>
                </c:pt>
                <c:pt idx="29">
                  <c:v>1994</c:v>
                </c:pt>
                <c:pt idx="30">
                  <c:v>1995</c:v>
                </c:pt>
                <c:pt idx="31">
                  <c:v>1996</c:v>
                </c:pt>
                <c:pt idx="32">
                  <c:v>1997</c:v>
                </c:pt>
                <c:pt idx="33">
                  <c:v>1998</c:v>
                </c:pt>
                <c:pt idx="34">
                  <c:v>1999</c:v>
                </c:pt>
                <c:pt idx="35">
                  <c:v>2000</c:v>
                </c:pt>
                <c:pt idx="36">
                  <c:v>2001</c:v>
                </c:pt>
                <c:pt idx="37">
                  <c:v>2002</c:v>
                </c:pt>
                <c:pt idx="38">
                  <c:v>2003</c:v>
                </c:pt>
                <c:pt idx="39">
                  <c:v>2004</c:v>
                </c:pt>
                <c:pt idx="40">
                  <c:v>2005</c:v>
                </c:pt>
                <c:pt idx="41">
                  <c:v>2006</c:v>
                </c:pt>
                <c:pt idx="42">
                  <c:v>2007</c:v>
                </c:pt>
                <c:pt idx="43">
                  <c:v>2008</c:v>
                </c:pt>
                <c:pt idx="44">
                  <c:v>2009</c:v>
                </c:pt>
                <c:pt idx="45">
                  <c:v>2010</c:v>
                </c:pt>
                <c:pt idx="46">
                  <c:v>2011</c:v>
                </c:pt>
                <c:pt idx="47">
                  <c:v>2012</c:v>
                </c:pt>
                <c:pt idx="48">
                  <c:v>2013</c:v>
                </c:pt>
                <c:pt idx="49">
                  <c:v>2014</c:v>
                </c:pt>
                <c:pt idx="50">
                  <c:v>2015</c:v>
                </c:pt>
                <c:pt idx="51">
                  <c:v>2016</c:v>
                </c:pt>
                <c:pt idx="52">
                  <c:v>2017</c:v>
                </c:pt>
                <c:pt idx="53">
                  <c:v>2018</c:v>
                </c:pt>
                <c:pt idx="54">
                  <c:v>2019</c:v>
                </c:pt>
                <c:pt idx="55">
                  <c:v>2020</c:v>
                </c:pt>
                <c:pt idx="56">
                  <c:v>2021</c:v>
                </c:pt>
                <c:pt idx="57">
                  <c:v>2022</c:v>
                </c:pt>
                <c:pt idx="58">
                  <c:v>2023</c:v>
                </c:pt>
                <c:pt idx="59">
                  <c:v>2024</c:v>
                </c:pt>
                <c:pt idx="60">
                  <c:v>2025</c:v>
                </c:pt>
                <c:pt idx="61">
                  <c:v>2026</c:v>
                </c:pt>
                <c:pt idx="62">
                  <c:v>2027</c:v>
                </c:pt>
                <c:pt idx="63">
                  <c:v>2028</c:v>
                </c:pt>
                <c:pt idx="64">
                  <c:v>2029</c:v>
                </c:pt>
                <c:pt idx="65">
                  <c:v>2030</c:v>
                </c:pt>
              </c:numCache>
            </c:numRef>
          </c:cat>
          <c:val>
            <c:numRef>
              <c:f>Sheet1!$B$2:$B$67</c:f>
              <c:numCache>
                <c:formatCode>_(* #,##0.0_);_(* \(#,##0.0\);_(* "-"??_);_(@_)</c:formatCode>
                <c:ptCount val="66"/>
                <c:pt idx="0">
                  <c:v>33.241734769928641</c:v>
                </c:pt>
                <c:pt idx="1">
                  <c:v>30.107825822308676</c:v>
                </c:pt>
                <c:pt idx="2">
                  <c:v>28.96063396742678</c:v>
                </c:pt>
                <c:pt idx="3">
                  <c:v>25.35932740129385</c:v>
                </c:pt>
                <c:pt idx="4">
                  <c:v>26.566088168019455</c:v>
                </c:pt>
                <c:pt idx="5">
                  <c:v>25.206538120379076</c:v>
                </c:pt>
                <c:pt idx="6">
                  <c:v>27.304418055985064</c:v>
                </c:pt>
                <c:pt idx="7">
                  <c:v>28.449937438495652</c:v>
                </c:pt>
                <c:pt idx="8">
                  <c:v>27.557323095980546</c:v>
                </c:pt>
                <c:pt idx="9">
                  <c:v>29.511462624627239</c:v>
                </c:pt>
                <c:pt idx="10">
                  <c:v>32.835940615568134</c:v>
                </c:pt>
                <c:pt idx="11">
                  <c:v>32.327677993389003</c:v>
                </c:pt>
                <c:pt idx="12">
                  <c:v>38.256101056874058</c:v>
                </c:pt>
                <c:pt idx="13">
                  <c:v>35.316770628473328</c:v>
                </c:pt>
                <c:pt idx="14">
                  <c:v>35.666578158160796</c:v>
                </c:pt>
                <c:pt idx="15">
                  <c:v>37.162920490168361</c:v>
                </c:pt>
                <c:pt idx="16">
                  <c:v>34.702129818641644</c:v>
                </c:pt>
                <c:pt idx="17">
                  <c:v>32.579462282709251</c:v>
                </c:pt>
                <c:pt idx="18">
                  <c:v>31.11660441673844</c:v>
                </c:pt>
                <c:pt idx="19">
                  <c:v>25.762483813764188</c:v>
                </c:pt>
                <c:pt idx="20">
                  <c:v>23.333691240342088</c:v>
                </c:pt>
                <c:pt idx="21">
                  <c:v>21.133876331005254</c:v>
                </c:pt>
                <c:pt idx="22">
                  <c:v>19.431738662418127</c:v>
                </c:pt>
                <c:pt idx="23">
                  <c:v>18.953718061360551</c:v>
                </c:pt>
                <c:pt idx="24">
                  <c:v>18.767825451645187</c:v>
                </c:pt>
                <c:pt idx="25">
                  <c:v>19.959084600539544</c:v>
                </c:pt>
                <c:pt idx="26">
                  <c:v>22.491746317817537</c:v>
                </c:pt>
                <c:pt idx="27">
                  <c:v>27.417745868322811</c:v>
                </c:pt>
                <c:pt idx="28">
                  <c:v>31.332729162800142</c:v>
                </c:pt>
                <c:pt idx="29">
                  <c:v>33.473439912705679</c:v>
                </c:pt>
                <c:pt idx="30">
                  <c:v>32.612848916286424</c:v>
                </c:pt>
                <c:pt idx="31">
                  <c:v>33.874548285364888</c:v>
                </c:pt>
                <c:pt idx="32">
                  <c:v>30.680979998305325</c:v>
                </c:pt>
                <c:pt idx="33">
                  <c:v>26.129931974706356</c:v>
                </c:pt>
                <c:pt idx="34">
                  <c:v>20.298730458372631</c:v>
                </c:pt>
                <c:pt idx="35">
                  <c:v>15.968363179360818</c:v>
                </c:pt>
                <c:pt idx="36">
                  <c:v>14.588726865611839</c:v>
                </c:pt>
                <c:pt idx="37">
                  <c:v>15.061273012199633</c:v>
                </c:pt>
                <c:pt idx="38">
                  <c:v>17.22161477721993</c:v>
                </c:pt>
                <c:pt idx="39">
                  <c:v>18.010834449043411</c:v>
                </c:pt>
                <c:pt idx="40">
                  <c:v>20.031822417406833</c:v>
                </c:pt>
                <c:pt idx="41">
                  <c:v>20.753757117808451</c:v>
                </c:pt>
                <c:pt idx="42">
                  <c:v>21.861396184686534</c:v>
                </c:pt>
                <c:pt idx="43">
                  <c:v>20.889130667419217</c:v>
                </c:pt>
                <c:pt idx="44">
                  <c:v>20.434148230245231</c:v>
                </c:pt>
                <c:pt idx="45">
                  <c:v>18.8217394669505</c:v>
                </c:pt>
                <c:pt idx="46">
                  <c:v>18.684325109549505</c:v>
                </c:pt>
                <c:pt idx="47">
                  <c:v>18.829199534842655</c:v>
                </c:pt>
                <c:pt idx="48">
                  <c:v>20.442247382472033</c:v>
                </c:pt>
                <c:pt idx="49">
                  <c:v>23.383482605906174</c:v>
                </c:pt>
                <c:pt idx="50">
                  <c:v>24.943149240845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1C-4C5F-987F-B8FF97507189}"/>
            </c:ext>
          </c:extLst>
        </c:ser>
        <c:ser>
          <c:idx val="3"/>
          <c:order val="1"/>
          <c:tx>
            <c:strRef>
              <c:f>Sheet1!$C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FF0000"/>
            </a:solidFill>
            <a:ln w="38100">
              <a:noFill/>
              <a:prstDash val="sysDash"/>
            </a:ln>
          </c:spPr>
          <c:invertIfNegative val="0"/>
          <c:dPt>
            <c:idx val="51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2-691C-4C5F-987F-B8FF97507189}"/>
              </c:ext>
            </c:extLst>
          </c:dPt>
          <c:dPt>
            <c:idx val="52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4-691C-4C5F-987F-B8FF97507189}"/>
              </c:ext>
            </c:extLst>
          </c:dPt>
          <c:dPt>
            <c:idx val="53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6-691C-4C5F-987F-B8FF97507189}"/>
              </c:ext>
            </c:extLst>
          </c:dPt>
          <c:dPt>
            <c:idx val="54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8-691C-4C5F-987F-B8FF97507189}"/>
              </c:ext>
            </c:extLst>
          </c:dPt>
          <c:cat>
            <c:numRef>
              <c:f>Sheet1!$A$2:$A$67</c:f>
              <c:numCache>
                <c:formatCode>General</c:formatCode>
                <c:ptCount val="66"/>
                <c:pt idx="0">
                  <c:v>1965</c:v>
                </c:pt>
                <c:pt idx="1">
                  <c:v>1966</c:v>
                </c:pt>
                <c:pt idx="2">
                  <c:v>1967</c:v>
                </c:pt>
                <c:pt idx="3">
                  <c:v>1968</c:v>
                </c:pt>
                <c:pt idx="4">
                  <c:v>1969</c:v>
                </c:pt>
                <c:pt idx="5">
                  <c:v>1970</c:v>
                </c:pt>
                <c:pt idx="6">
                  <c:v>1971</c:v>
                </c:pt>
                <c:pt idx="7">
                  <c:v>1972</c:v>
                </c:pt>
                <c:pt idx="8">
                  <c:v>1973</c:v>
                </c:pt>
                <c:pt idx="9">
                  <c:v>1974</c:v>
                </c:pt>
                <c:pt idx="10">
                  <c:v>1975</c:v>
                </c:pt>
                <c:pt idx="11">
                  <c:v>1976</c:v>
                </c:pt>
                <c:pt idx="12">
                  <c:v>1977</c:v>
                </c:pt>
                <c:pt idx="13">
                  <c:v>1978</c:v>
                </c:pt>
                <c:pt idx="14">
                  <c:v>1979</c:v>
                </c:pt>
                <c:pt idx="15">
                  <c:v>1980</c:v>
                </c:pt>
                <c:pt idx="16">
                  <c:v>1981</c:v>
                </c:pt>
                <c:pt idx="17">
                  <c:v>1982</c:v>
                </c:pt>
                <c:pt idx="18">
                  <c:v>1983</c:v>
                </c:pt>
                <c:pt idx="19">
                  <c:v>1984</c:v>
                </c:pt>
                <c:pt idx="20">
                  <c:v>1985</c:v>
                </c:pt>
                <c:pt idx="21">
                  <c:v>1986</c:v>
                </c:pt>
                <c:pt idx="22">
                  <c:v>1987</c:v>
                </c:pt>
                <c:pt idx="23">
                  <c:v>1988</c:v>
                </c:pt>
                <c:pt idx="24">
                  <c:v>1989</c:v>
                </c:pt>
                <c:pt idx="25">
                  <c:v>1990</c:v>
                </c:pt>
                <c:pt idx="26">
                  <c:v>1991</c:v>
                </c:pt>
                <c:pt idx="27">
                  <c:v>1992</c:v>
                </c:pt>
                <c:pt idx="28">
                  <c:v>1993</c:v>
                </c:pt>
                <c:pt idx="29">
                  <c:v>1994</c:v>
                </c:pt>
                <c:pt idx="30">
                  <c:v>1995</c:v>
                </c:pt>
                <c:pt idx="31">
                  <c:v>1996</c:v>
                </c:pt>
                <c:pt idx="32">
                  <c:v>1997</c:v>
                </c:pt>
                <c:pt idx="33">
                  <c:v>1998</c:v>
                </c:pt>
                <c:pt idx="34">
                  <c:v>1999</c:v>
                </c:pt>
                <c:pt idx="35">
                  <c:v>2000</c:v>
                </c:pt>
                <c:pt idx="36">
                  <c:v>2001</c:v>
                </c:pt>
                <c:pt idx="37">
                  <c:v>2002</c:v>
                </c:pt>
                <c:pt idx="38">
                  <c:v>2003</c:v>
                </c:pt>
                <c:pt idx="39">
                  <c:v>2004</c:v>
                </c:pt>
                <c:pt idx="40">
                  <c:v>2005</c:v>
                </c:pt>
                <c:pt idx="41">
                  <c:v>2006</c:v>
                </c:pt>
                <c:pt idx="42">
                  <c:v>2007</c:v>
                </c:pt>
                <c:pt idx="43">
                  <c:v>2008</c:v>
                </c:pt>
                <c:pt idx="44">
                  <c:v>2009</c:v>
                </c:pt>
                <c:pt idx="45">
                  <c:v>2010</c:v>
                </c:pt>
                <c:pt idx="46">
                  <c:v>2011</c:v>
                </c:pt>
                <c:pt idx="47">
                  <c:v>2012</c:v>
                </c:pt>
                <c:pt idx="48">
                  <c:v>2013</c:v>
                </c:pt>
                <c:pt idx="49">
                  <c:v>2014</c:v>
                </c:pt>
                <c:pt idx="50">
                  <c:v>2015</c:v>
                </c:pt>
                <c:pt idx="51">
                  <c:v>2016</c:v>
                </c:pt>
                <c:pt idx="52">
                  <c:v>2017</c:v>
                </c:pt>
                <c:pt idx="53">
                  <c:v>2018</c:v>
                </c:pt>
                <c:pt idx="54">
                  <c:v>2019</c:v>
                </c:pt>
                <c:pt idx="55">
                  <c:v>2020</c:v>
                </c:pt>
                <c:pt idx="56">
                  <c:v>2021</c:v>
                </c:pt>
                <c:pt idx="57">
                  <c:v>2022</c:v>
                </c:pt>
                <c:pt idx="58">
                  <c:v>2023</c:v>
                </c:pt>
                <c:pt idx="59">
                  <c:v>2024</c:v>
                </c:pt>
                <c:pt idx="60">
                  <c:v>2025</c:v>
                </c:pt>
                <c:pt idx="61">
                  <c:v>2026</c:v>
                </c:pt>
                <c:pt idx="62">
                  <c:v>2027</c:v>
                </c:pt>
                <c:pt idx="63">
                  <c:v>2028</c:v>
                </c:pt>
                <c:pt idx="64">
                  <c:v>2029</c:v>
                </c:pt>
                <c:pt idx="65">
                  <c:v>2030</c:v>
                </c:pt>
              </c:numCache>
            </c:numRef>
          </c:cat>
          <c:val>
            <c:numRef>
              <c:f>Sheet1!$C$2:$C$67</c:f>
              <c:numCache>
                <c:formatCode>General</c:formatCode>
                <c:ptCount val="66"/>
                <c:pt idx="51" formatCode="_(* #,##0.0_);_(* \(#,##0.0\);_(* &quot;-&quot;??_);_(@_)">
                  <c:v>26.072137866202979</c:v>
                </c:pt>
                <c:pt idx="52" formatCode="_(* #,##0.0_);_(* \(#,##0.0\);_(* &quot;-&quot;??_);_(@_)">
                  <c:v>27.24427573240596</c:v>
                </c:pt>
                <c:pt idx="53" formatCode="_(* #,##0.0_);_(* \(#,##0.0\);_(* &quot;-&quot;??_);_(@_)">
                  <c:v>25.202216706436563</c:v>
                </c:pt>
                <c:pt idx="54" formatCode="_(* #,##0.0_);_(* \(#,##0.0\);_(* &quot;-&quot;??_);_(@_)">
                  <c:v>23.313217541793669</c:v>
                </c:pt>
                <c:pt idx="55" formatCode="_(* #,##0.0_);_(* \(#,##0.0\);_(* &quot;-&quot;??_);_(@_)">
                  <c:v>21</c:v>
                </c:pt>
                <c:pt idx="56" formatCode="_(* #,##0.0_);_(* \(#,##0.0\);_(* &quot;-&quot;??_);_(@_)">
                  <c:v>18.600000000000001</c:v>
                </c:pt>
                <c:pt idx="57" formatCode="_(* #,##0.0_);_(* \(#,##0.0\);_(* &quot;-&quot;??_);_(@_)">
                  <c:v>18.454090241869807</c:v>
                </c:pt>
                <c:pt idx="58" formatCode="_(* #,##0.0_);_(* \(#,##0.0\);_(* &quot;-&quot;??_);_(@_)">
                  <c:v>17.070888063379151</c:v>
                </c:pt>
                <c:pt idx="59" formatCode="_(* #,##0.0_);_(* \(#,##0.0\);_(* &quot;-&quot;??_);_(@_)">
                  <c:v>15.791361993626731</c:v>
                </c:pt>
                <c:pt idx="60" formatCode="_(* #,##0.0_);_(* \(#,##0.0\);_(* &quot;-&quot;??_);_(@_)">
                  <c:v>14.607741125589518</c:v>
                </c:pt>
                <c:pt idx="61" formatCode="_(* #,##0.0_);_(* \(#,##0.0\);_(* &quot;-&quot;??_);_(@_)">
                  <c:v>13.512837010408617</c:v>
                </c:pt>
                <c:pt idx="62" formatCode="_(* #,##0.0_);_(* \(#,##0.0\);_(* &quot;-&quot;??_);_(@_)">
                  <c:v>12.499999999999995</c:v>
                </c:pt>
                <c:pt idx="63" formatCode="_(* #,##0.0_);_(* \(#,##0.0\);_(* &quot;-&quot;??_);_(@_)">
                  <c:v>13.512837010408617</c:v>
                </c:pt>
                <c:pt idx="64" formatCode="_(* #,##0.0_);_(* \(#,##0.0\);_(* &quot;-&quot;??_);_(@_)">
                  <c:v>14.607741125589518</c:v>
                </c:pt>
                <c:pt idx="65" formatCode="_(* #,##0.0_);_(* \(#,##0.0\);_(* &quot;-&quot;??_);_(@_)">
                  <c:v>15.791361993626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91C-4C5F-987F-B8FF975071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419593120"/>
        <c:axId val="-1094831088"/>
      </c:barChart>
      <c:catAx>
        <c:axId val="-1419593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1094831088"/>
        <c:crosses val="autoZero"/>
        <c:auto val="1"/>
        <c:lblAlgn val="ctr"/>
        <c:lblOffset val="100"/>
        <c:tickLblSkip val="5"/>
        <c:noMultiLvlLbl val="0"/>
      </c:catAx>
      <c:valAx>
        <c:axId val="-1094831088"/>
        <c:scaling>
          <c:orientation val="minMax"/>
          <c:max val="40"/>
        </c:scaling>
        <c:delete val="0"/>
        <c:axPos val="l"/>
        <c:majorGridlines>
          <c:spPr>
            <a:ln w="3175">
              <a:solidFill>
                <a:schemeClr val="bg1">
                  <a:lumMod val="7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-1419593120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2928286307961498E-2"/>
          <c:y val="4.7046998031496097E-2"/>
          <c:w val="0.89572610838207001"/>
          <c:h val="0.835848671259842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 w="38100"/>
          </c:spPr>
          <c:invertIfNegative val="0"/>
          <c:cat>
            <c:numRef>
              <c:f>Sheet1!$A$2:$A$67</c:f>
              <c:numCache>
                <c:formatCode>General</c:formatCode>
                <c:ptCount val="66"/>
                <c:pt idx="0">
                  <c:v>1965</c:v>
                </c:pt>
                <c:pt idx="1">
                  <c:v>1966</c:v>
                </c:pt>
                <c:pt idx="2">
                  <c:v>1967</c:v>
                </c:pt>
                <c:pt idx="3">
                  <c:v>1968</c:v>
                </c:pt>
                <c:pt idx="4">
                  <c:v>1969</c:v>
                </c:pt>
                <c:pt idx="5">
                  <c:v>1970</c:v>
                </c:pt>
                <c:pt idx="6">
                  <c:v>1971</c:v>
                </c:pt>
                <c:pt idx="7">
                  <c:v>1972</c:v>
                </c:pt>
                <c:pt idx="8">
                  <c:v>1973</c:v>
                </c:pt>
                <c:pt idx="9">
                  <c:v>1974</c:v>
                </c:pt>
                <c:pt idx="10">
                  <c:v>1975</c:v>
                </c:pt>
                <c:pt idx="11">
                  <c:v>1976</c:v>
                </c:pt>
                <c:pt idx="12">
                  <c:v>1977</c:v>
                </c:pt>
                <c:pt idx="13">
                  <c:v>1978</c:v>
                </c:pt>
                <c:pt idx="14">
                  <c:v>1979</c:v>
                </c:pt>
                <c:pt idx="15">
                  <c:v>1980</c:v>
                </c:pt>
                <c:pt idx="16">
                  <c:v>1981</c:v>
                </c:pt>
                <c:pt idx="17">
                  <c:v>1982</c:v>
                </c:pt>
                <c:pt idx="18">
                  <c:v>1983</c:v>
                </c:pt>
                <c:pt idx="19">
                  <c:v>1984</c:v>
                </c:pt>
                <c:pt idx="20">
                  <c:v>1985</c:v>
                </c:pt>
                <c:pt idx="21">
                  <c:v>1986</c:v>
                </c:pt>
                <c:pt idx="22">
                  <c:v>1987</c:v>
                </c:pt>
                <c:pt idx="23">
                  <c:v>1988</c:v>
                </c:pt>
                <c:pt idx="24">
                  <c:v>1989</c:v>
                </c:pt>
                <c:pt idx="25">
                  <c:v>1990</c:v>
                </c:pt>
                <c:pt idx="26">
                  <c:v>1991</c:v>
                </c:pt>
                <c:pt idx="27">
                  <c:v>1992</c:v>
                </c:pt>
                <c:pt idx="28">
                  <c:v>1993</c:v>
                </c:pt>
                <c:pt idx="29">
                  <c:v>1994</c:v>
                </c:pt>
                <c:pt idx="30">
                  <c:v>1995</c:v>
                </c:pt>
                <c:pt idx="31">
                  <c:v>1996</c:v>
                </c:pt>
                <c:pt idx="32">
                  <c:v>1997</c:v>
                </c:pt>
                <c:pt idx="33">
                  <c:v>1998</c:v>
                </c:pt>
                <c:pt idx="34">
                  <c:v>1999</c:v>
                </c:pt>
                <c:pt idx="35">
                  <c:v>2000</c:v>
                </c:pt>
                <c:pt idx="36">
                  <c:v>2001</c:v>
                </c:pt>
                <c:pt idx="37">
                  <c:v>2002</c:v>
                </c:pt>
                <c:pt idx="38">
                  <c:v>2003</c:v>
                </c:pt>
                <c:pt idx="39">
                  <c:v>2004</c:v>
                </c:pt>
                <c:pt idx="40">
                  <c:v>2005</c:v>
                </c:pt>
                <c:pt idx="41">
                  <c:v>2006</c:v>
                </c:pt>
                <c:pt idx="42">
                  <c:v>2007</c:v>
                </c:pt>
                <c:pt idx="43">
                  <c:v>2008</c:v>
                </c:pt>
                <c:pt idx="44">
                  <c:v>2009</c:v>
                </c:pt>
                <c:pt idx="45">
                  <c:v>2010</c:v>
                </c:pt>
                <c:pt idx="46">
                  <c:v>2011</c:v>
                </c:pt>
                <c:pt idx="47">
                  <c:v>2012</c:v>
                </c:pt>
                <c:pt idx="48">
                  <c:v>2013</c:v>
                </c:pt>
                <c:pt idx="49">
                  <c:v>2014</c:v>
                </c:pt>
                <c:pt idx="50">
                  <c:v>2015</c:v>
                </c:pt>
                <c:pt idx="51">
                  <c:v>2016</c:v>
                </c:pt>
                <c:pt idx="52">
                  <c:v>2017</c:v>
                </c:pt>
                <c:pt idx="53">
                  <c:v>2018</c:v>
                </c:pt>
                <c:pt idx="54">
                  <c:v>2019</c:v>
                </c:pt>
                <c:pt idx="55">
                  <c:v>2020</c:v>
                </c:pt>
                <c:pt idx="56">
                  <c:v>2021</c:v>
                </c:pt>
                <c:pt idx="57">
                  <c:v>2022</c:v>
                </c:pt>
                <c:pt idx="58">
                  <c:v>2023</c:v>
                </c:pt>
                <c:pt idx="59">
                  <c:v>2024</c:v>
                </c:pt>
                <c:pt idx="60">
                  <c:v>2025</c:v>
                </c:pt>
                <c:pt idx="61">
                  <c:v>2026</c:v>
                </c:pt>
                <c:pt idx="62">
                  <c:v>2027</c:v>
                </c:pt>
                <c:pt idx="63">
                  <c:v>2028</c:v>
                </c:pt>
                <c:pt idx="64">
                  <c:v>2029</c:v>
                </c:pt>
                <c:pt idx="65">
                  <c:v>2030</c:v>
                </c:pt>
              </c:numCache>
            </c:numRef>
          </c:cat>
          <c:val>
            <c:numRef>
              <c:f>Sheet1!$B$2:$B$67</c:f>
              <c:numCache>
                <c:formatCode>_(* #,##0.0_);_(* \(#,##0.0\);_(* "-"??_);_(@_)</c:formatCode>
                <c:ptCount val="66"/>
                <c:pt idx="0">
                  <c:v>33.241734769928641</c:v>
                </c:pt>
                <c:pt idx="1">
                  <c:v>30.107825822308676</c:v>
                </c:pt>
                <c:pt idx="2">
                  <c:v>28.96063396742678</c:v>
                </c:pt>
                <c:pt idx="3">
                  <c:v>25.35932740129385</c:v>
                </c:pt>
                <c:pt idx="4">
                  <c:v>26.566088168019455</c:v>
                </c:pt>
                <c:pt idx="5">
                  <c:v>25.206538120379076</c:v>
                </c:pt>
                <c:pt idx="6">
                  <c:v>27.304418055985064</c:v>
                </c:pt>
                <c:pt idx="7">
                  <c:v>28.449937438495652</c:v>
                </c:pt>
                <c:pt idx="8">
                  <c:v>27.557323095980546</c:v>
                </c:pt>
                <c:pt idx="9">
                  <c:v>29.511462624627239</c:v>
                </c:pt>
                <c:pt idx="10">
                  <c:v>32.835940615568134</c:v>
                </c:pt>
                <c:pt idx="11">
                  <c:v>32.327677993389003</c:v>
                </c:pt>
                <c:pt idx="12">
                  <c:v>38.256101056874058</c:v>
                </c:pt>
                <c:pt idx="13">
                  <c:v>35.316770628473328</c:v>
                </c:pt>
                <c:pt idx="14">
                  <c:v>35.666578158160796</c:v>
                </c:pt>
                <c:pt idx="15">
                  <c:v>37.162920490168361</c:v>
                </c:pt>
                <c:pt idx="16">
                  <c:v>34.702129818641644</c:v>
                </c:pt>
                <c:pt idx="17">
                  <c:v>32.579462282709251</c:v>
                </c:pt>
                <c:pt idx="18">
                  <c:v>31.11660441673844</c:v>
                </c:pt>
                <c:pt idx="19">
                  <c:v>25.762483813764188</c:v>
                </c:pt>
                <c:pt idx="20">
                  <c:v>23.333691240342088</c:v>
                </c:pt>
                <c:pt idx="21">
                  <c:v>21.133876331005254</c:v>
                </c:pt>
                <c:pt idx="22">
                  <c:v>19.431738662418127</c:v>
                </c:pt>
                <c:pt idx="23">
                  <c:v>18.953718061360551</c:v>
                </c:pt>
                <c:pt idx="24">
                  <c:v>18.767825451645187</c:v>
                </c:pt>
                <c:pt idx="25">
                  <c:v>19.959084600539544</c:v>
                </c:pt>
                <c:pt idx="26">
                  <c:v>22.491746317817537</c:v>
                </c:pt>
                <c:pt idx="27">
                  <c:v>27.417745868322811</c:v>
                </c:pt>
                <c:pt idx="28">
                  <c:v>31.332729162800142</c:v>
                </c:pt>
                <c:pt idx="29">
                  <c:v>33.473439912705679</c:v>
                </c:pt>
                <c:pt idx="30">
                  <c:v>32.612848916286424</c:v>
                </c:pt>
                <c:pt idx="31">
                  <c:v>33.874548285364888</c:v>
                </c:pt>
                <c:pt idx="32">
                  <c:v>30.680979998305325</c:v>
                </c:pt>
                <c:pt idx="33">
                  <c:v>26.129931974706356</c:v>
                </c:pt>
                <c:pt idx="34">
                  <c:v>20.298730458372631</c:v>
                </c:pt>
                <c:pt idx="35">
                  <c:v>15.968363179360818</c:v>
                </c:pt>
                <c:pt idx="36">
                  <c:v>14.588726865611839</c:v>
                </c:pt>
                <c:pt idx="37">
                  <c:v>15.061273012199633</c:v>
                </c:pt>
                <c:pt idx="38">
                  <c:v>17.22161477721993</c:v>
                </c:pt>
                <c:pt idx="39">
                  <c:v>18.010834449043411</c:v>
                </c:pt>
                <c:pt idx="40">
                  <c:v>20.031822417406833</c:v>
                </c:pt>
                <c:pt idx="41">
                  <c:v>20.753757117808451</c:v>
                </c:pt>
                <c:pt idx="42">
                  <c:v>21.861396184686534</c:v>
                </c:pt>
                <c:pt idx="43">
                  <c:v>20.889130667419217</c:v>
                </c:pt>
                <c:pt idx="44">
                  <c:v>20.434148230245231</c:v>
                </c:pt>
                <c:pt idx="45">
                  <c:v>18.8217394669505</c:v>
                </c:pt>
                <c:pt idx="46">
                  <c:v>18.684325109549505</c:v>
                </c:pt>
                <c:pt idx="47">
                  <c:v>18.829199534842655</c:v>
                </c:pt>
                <c:pt idx="48">
                  <c:v>20.442247382472033</c:v>
                </c:pt>
                <c:pt idx="49">
                  <c:v>23.383482605906174</c:v>
                </c:pt>
                <c:pt idx="50">
                  <c:v>24.943149240845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82-4AFE-B380-4C06596CEF53}"/>
            </c:ext>
          </c:extLst>
        </c:ser>
        <c:ser>
          <c:idx val="3"/>
          <c:order val="1"/>
          <c:tx>
            <c:strRef>
              <c:f>Sheet1!$C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FF0000"/>
            </a:solidFill>
            <a:ln w="38100">
              <a:noFill/>
              <a:prstDash val="sysDash"/>
            </a:ln>
          </c:spPr>
          <c:invertIfNegative val="0"/>
          <c:dPt>
            <c:idx val="51"/>
            <c:invertIfNegative val="0"/>
            <c:bubble3D val="0"/>
            <c:spPr>
              <a:solidFill>
                <a:schemeClr val="accent6"/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2-EE82-4AFE-B380-4C06596CEF53}"/>
              </c:ext>
            </c:extLst>
          </c:dPt>
          <c:dPt>
            <c:idx val="52"/>
            <c:invertIfNegative val="0"/>
            <c:bubble3D val="0"/>
            <c:spPr>
              <a:solidFill>
                <a:schemeClr val="accent6"/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4-EE82-4AFE-B380-4C06596CEF53}"/>
              </c:ext>
            </c:extLst>
          </c:dPt>
          <c:dPt>
            <c:idx val="53"/>
            <c:invertIfNegative val="0"/>
            <c:bubble3D val="0"/>
            <c:spPr>
              <a:solidFill>
                <a:schemeClr val="accent6"/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6-EE82-4AFE-B380-4C06596CEF53}"/>
              </c:ext>
            </c:extLst>
          </c:dPt>
          <c:dPt>
            <c:idx val="54"/>
            <c:invertIfNegative val="0"/>
            <c:bubble3D val="0"/>
            <c:spPr>
              <a:solidFill>
                <a:schemeClr val="accent6"/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8-EE82-4AFE-B380-4C06596CEF53}"/>
              </c:ext>
            </c:extLst>
          </c:dPt>
          <c:dPt>
            <c:idx val="55"/>
            <c:invertIfNegative val="0"/>
            <c:bubble3D val="0"/>
            <c:spPr>
              <a:solidFill>
                <a:schemeClr val="accent6"/>
              </a:solidFill>
              <a:ln w="38100">
                <a:noFill/>
                <a:prstDash val="sysDash"/>
              </a:ln>
            </c:spPr>
            <c:extLst>
              <c:ext xmlns:c16="http://schemas.microsoft.com/office/drawing/2014/chart" uri="{C3380CC4-5D6E-409C-BE32-E72D297353CC}">
                <c16:uniqueId val="{0000000A-EE82-4AFE-B380-4C06596CEF53}"/>
              </c:ext>
            </c:extLst>
          </c:dPt>
          <c:dPt>
            <c:idx val="5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EE82-4AFE-B380-4C06596CEF53}"/>
              </c:ext>
            </c:extLst>
          </c:dPt>
          <c:dPt>
            <c:idx val="5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EE82-4AFE-B380-4C06596CEF53}"/>
              </c:ext>
            </c:extLst>
          </c:dPt>
          <c:cat>
            <c:numRef>
              <c:f>Sheet1!$A$2:$A$67</c:f>
              <c:numCache>
                <c:formatCode>General</c:formatCode>
                <c:ptCount val="66"/>
                <c:pt idx="0">
                  <c:v>1965</c:v>
                </c:pt>
                <c:pt idx="1">
                  <c:v>1966</c:v>
                </c:pt>
                <c:pt idx="2">
                  <c:v>1967</c:v>
                </c:pt>
                <c:pt idx="3">
                  <c:v>1968</c:v>
                </c:pt>
                <c:pt idx="4">
                  <c:v>1969</c:v>
                </c:pt>
                <c:pt idx="5">
                  <c:v>1970</c:v>
                </c:pt>
                <c:pt idx="6">
                  <c:v>1971</c:v>
                </c:pt>
                <c:pt idx="7">
                  <c:v>1972</c:v>
                </c:pt>
                <c:pt idx="8">
                  <c:v>1973</c:v>
                </c:pt>
                <c:pt idx="9">
                  <c:v>1974</c:v>
                </c:pt>
                <c:pt idx="10">
                  <c:v>1975</c:v>
                </c:pt>
                <c:pt idx="11">
                  <c:v>1976</c:v>
                </c:pt>
                <c:pt idx="12">
                  <c:v>1977</c:v>
                </c:pt>
                <c:pt idx="13">
                  <c:v>1978</c:v>
                </c:pt>
                <c:pt idx="14">
                  <c:v>1979</c:v>
                </c:pt>
                <c:pt idx="15">
                  <c:v>1980</c:v>
                </c:pt>
                <c:pt idx="16">
                  <c:v>1981</c:v>
                </c:pt>
                <c:pt idx="17">
                  <c:v>1982</c:v>
                </c:pt>
                <c:pt idx="18">
                  <c:v>1983</c:v>
                </c:pt>
                <c:pt idx="19">
                  <c:v>1984</c:v>
                </c:pt>
                <c:pt idx="20">
                  <c:v>1985</c:v>
                </c:pt>
                <c:pt idx="21">
                  <c:v>1986</c:v>
                </c:pt>
                <c:pt idx="22">
                  <c:v>1987</c:v>
                </c:pt>
                <c:pt idx="23">
                  <c:v>1988</c:v>
                </c:pt>
                <c:pt idx="24">
                  <c:v>1989</c:v>
                </c:pt>
                <c:pt idx="25">
                  <c:v>1990</c:v>
                </c:pt>
                <c:pt idx="26">
                  <c:v>1991</c:v>
                </c:pt>
                <c:pt idx="27">
                  <c:v>1992</c:v>
                </c:pt>
                <c:pt idx="28">
                  <c:v>1993</c:v>
                </c:pt>
                <c:pt idx="29">
                  <c:v>1994</c:v>
                </c:pt>
                <c:pt idx="30">
                  <c:v>1995</c:v>
                </c:pt>
                <c:pt idx="31">
                  <c:v>1996</c:v>
                </c:pt>
                <c:pt idx="32">
                  <c:v>1997</c:v>
                </c:pt>
                <c:pt idx="33">
                  <c:v>1998</c:v>
                </c:pt>
                <c:pt idx="34">
                  <c:v>1999</c:v>
                </c:pt>
                <c:pt idx="35">
                  <c:v>2000</c:v>
                </c:pt>
                <c:pt idx="36">
                  <c:v>2001</c:v>
                </c:pt>
                <c:pt idx="37">
                  <c:v>2002</c:v>
                </c:pt>
                <c:pt idx="38">
                  <c:v>2003</c:v>
                </c:pt>
                <c:pt idx="39">
                  <c:v>2004</c:v>
                </c:pt>
                <c:pt idx="40">
                  <c:v>2005</c:v>
                </c:pt>
                <c:pt idx="41">
                  <c:v>2006</c:v>
                </c:pt>
                <c:pt idx="42">
                  <c:v>2007</c:v>
                </c:pt>
                <c:pt idx="43">
                  <c:v>2008</c:v>
                </c:pt>
                <c:pt idx="44">
                  <c:v>2009</c:v>
                </c:pt>
                <c:pt idx="45">
                  <c:v>2010</c:v>
                </c:pt>
                <c:pt idx="46">
                  <c:v>2011</c:v>
                </c:pt>
                <c:pt idx="47">
                  <c:v>2012</c:v>
                </c:pt>
                <c:pt idx="48">
                  <c:v>2013</c:v>
                </c:pt>
                <c:pt idx="49">
                  <c:v>2014</c:v>
                </c:pt>
                <c:pt idx="50">
                  <c:v>2015</c:v>
                </c:pt>
                <c:pt idx="51">
                  <c:v>2016</c:v>
                </c:pt>
                <c:pt idx="52">
                  <c:v>2017</c:v>
                </c:pt>
                <c:pt idx="53">
                  <c:v>2018</c:v>
                </c:pt>
                <c:pt idx="54">
                  <c:v>2019</c:v>
                </c:pt>
                <c:pt idx="55">
                  <c:v>2020</c:v>
                </c:pt>
                <c:pt idx="56">
                  <c:v>2021</c:v>
                </c:pt>
                <c:pt idx="57">
                  <c:v>2022</c:v>
                </c:pt>
                <c:pt idx="58">
                  <c:v>2023</c:v>
                </c:pt>
                <c:pt idx="59">
                  <c:v>2024</c:v>
                </c:pt>
                <c:pt idx="60">
                  <c:v>2025</c:v>
                </c:pt>
                <c:pt idx="61">
                  <c:v>2026</c:v>
                </c:pt>
                <c:pt idx="62">
                  <c:v>2027</c:v>
                </c:pt>
                <c:pt idx="63">
                  <c:v>2028</c:v>
                </c:pt>
                <c:pt idx="64">
                  <c:v>2029</c:v>
                </c:pt>
                <c:pt idx="65">
                  <c:v>2030</c:v>
                </c:pt>
              </c:numCache>
            </c:numRef>
          </c:cat>
          <c:val>
            <c:numRef>
              <c:f>Sheet1!$C$2:$C$67</c:f>
              <c:numCache>
                <c:formatCode>General</c:formatCode>
                <c:ptCount val="66"/>
                <c:pt idx="51" formatCode="_(* #,##0.0_);_(* \(#,##0.0\);_(* &quot;-&quot;??_);_(@_)">
                  <c:v>26.072137866202979</c:v>
                </c:pt>
                <c:pt idx="52" formatCode="_(* #,##0.0_);_(* \(#,##0.0\);_(* &quot;-&quot;??_);_(@_)">
                  <c:v>27.24427573240596</c:v>
                </c:pt>
                <c:pt idx="53" formatCode="_(* #,##0.0_);_(* \(#,##0.0\);_(* &quot;-&quot;??_);_(@_)">
                  <c:v>25.202216706436563</c:v>
                </c:pt>
                <c:pt idx="54" formatCode="_(* #,##0.0_);_(* \(#,##0.0\);_(* &quot;-&quot;??_);_(@_)">
                  <c:v>23.313217541793669</c:v>
                </c:pt>
                <c:pt idx="55" formatCode="_(* #,##0.0_);_(* \(#,##0.0\);_(* &quot;-&quot;??_);_(@_)">
                  <c:v>21</c:v>
                </c:pt>
                <c:pt idx="56" formatCode="_(* #,##0.0_);_(* \(#,##0.0\);_(* &quot;-&quot;??_);_(@_)">
                  <c:v>18.600000000000001</c:v>
                </c:pt>
                <c:pt idx="57" formatCode="_(* #,##0.0_);_(* \(#,##0.0\);_(* &quot;-&quot;??_);_(@_)">
                  <c:v>18.454090241869807</c:v>
                </c:pt>
                <c:pt idx="58" formatCode="_(* #,##0.0_);_(* \(#,##0.0\);_(* &quot;-&quot;??_);_(@_)">
                  <c:v>17.070888063379151</c:v>
                </c:pt>
                <c:pt idx="59" formatCode="_(* #,##0.0_);_(* \(#,##0.0\);_(* &quot;-&quot;??_);_(@_)">
                  <c:v>15.791361993626731</c:v>
                </c:pt>
                <c:pt idx="60" formatCode="_(* #,##0.0_);_(* \(#,##0.0\);_(* &quot;-&quot;??_);_(@_)">
                  <c:v>14.607741125589518</c:v>
                </c:pt>
                <c:pt idx="61" formatCode="_(* #,##0.0_);_(* \(#,##0.0\);_(* &quot;-&quot;??_);_(@_)">
                  <c:v>13.512837010408617</c:v>
                </c:pt>
                <c:pt idx="62" formatCode="_(* #,##0.0_);_(* \(#,##0.0\);_(* &quot;-&quot;??_);_(@_)">
                  <c:v>12.499999999999995</c:v>
                </c:pt>
                <c:pt idx="63" formatCode="_(* #,##0.0_);_(* \(#,##0.0\);_(* &quot;-&quot;??_);_(@_)">
                  <c:v>13.512837010408617</c:v>
                </c:pt>
                <c:pt idx="64" formatCode="_(* #,##0.0_);_(* \(#,##0.0\);_(* &quot;-&quot;??_);_(@_)">
                  <c:v>14.607741125589518</c:v>
                </c:pt>
                <c:pt idx="65" formatCode="_(* #,##0.0_);_(* \(#,##0.0\);_(* &quot;-&quot;??_);_(@_)">
                  <c:v>15.791361993626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EE82-4AFE-B380-4C06596CEF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419593120"/>
        <c:axId val="-1094831088"/>
      </c:barChart>
      <c:catAx>
        <c:axId val="-1419593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/>
            </a:pPr>
            <a:endParaRPr lang="en-US"/>
          </a:p>
        </c:txPr>
        <c:crossAx val="-1094831088"/>
        <c:crosses val="autoZero"/>
        <c:auto val="1"/>
        <c:lblAlgn val="ctr"/>
        <c:lblOffset val="100"/>
        <c:tickLblSkip val="5"/>
        <c:noMultiLvlLbl val="0"/>
      </c:catAx>
      <c:valAx>
        <c:axId val="-1094831088"/>
        <c:scaling>
          <c:orientation val="minMax"/>
          <c:max val="40"/>
        </c:scaling>
        <c:delete val="0"/>
        <c:axPos val="l"/>
        <c:majorGridlines>
          <c:spPr>
            <a:ln w="3175">
              <a:solidFill>
                <a:schemeClr val="bg1">
                  <a:lumMod val="7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-1419593120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1353F9-F373-2645-9932-096A5B7404E6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5F50B-98D2-E641-B4C3-B409283E76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93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CAC92F2-3DA4-42B2-B735-336609525A86}"/>
              </a:ext>
            </a:extLst>
          </p:cNvPr>
          <p:cNvSpPr/>
          <p:nvPr/>
        </p:nvSpPr>
        <p:spPr>
          <a:xfrm>
            <a:off x="342900" y="752475"/>
            <a:ext cx="11572875" cy="9065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431EA9B-926D-46A4-89E5-57AD00D63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0852" y="4161971"/>
            <a:ext cx="2371148" cy="21943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042A44-CA12-473F-BC5D-3B8C285C13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6852" y="1135030"/>
            <a:ext cx="9144000" cy="2387600"/>
          </a:xfrm>
        </p:spPr>
        <p:txBody>
          <a:bodyPr anchor="b">
            <a:normAutofit/>
          </a:bodyPr>
          <a:lstStyle>
            <a:lvl1pPr algn="l">
              <a:defRPr sz="4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102142-6393-48FC-871B-996064B559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6852" y="3614705"/>
            <a:ext cx="9144000" cy="106120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4AFB97-97FC-4B5D-9447-1E3D1D200A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400" y="-21267"/>
            <a:ext cx="4246462" cy="148858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E71EFF-6E35-4284-ACC0-F254C491BFD1}"/>
              </a:ext>
            </a:extLst>
          </p:cNvPr>
          <p:cNvSpPr/>
          <p:nvPr/>
        </p:nvSpPr>
        <p:spPr>
          <a:xfrm>
            <a:off x="0" y="6414654"/>
            <a:ext cx="12192000" cy="443345"/>
          </a:xfrm>
          <a:prstGeom prst="rect">
            <a:avLst/>
          </a:prstGeom>
          <a:solidFill>
            <a:srgbClr val="DD2821"/>
          </a:solidFill>
          <a:effectLst/>
          <a:scene3d>
            <a:camera prst="orthographicFront"/>
            <a:lightRig rig="threePt" dir="b"/>
          </a:scene3d>
          <a:sp3d prstMaterial="matte">
            <a:contourClr>
              <a:schemeClr val="accent1">
                <a:tint val="10000"/>
                <a:satMod val="130000"/>
              </a:schemeClr>
            </a:contourClr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>
              <a:spcBef>
                <a:spcPts val="200"/>
              </a:spcBef>
              <a:spcAft>
                <a:spcPts val="400"/>
              </a:spcAft>
            </a:pPr>
            <a:r>
              <a:rPr lang="en-US" sz="1000" dirty="0">
                <a:solidFill>
                  <a:schemeClr val="bg1"/>
                </a:solidFill>
                <a:latin typeface="+mj-lt"/>
                <a:cs typeface="Segoe UI" panose="020B0502040204020203" pitchFamily="34" charset="0"/>
              </a:rPr>
              <a:t>© 2024 Innosight Consulting, LLC and/or its affiliat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0C7E5-AA7C-4C05-A465-6A9EB79B95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6275" y="4844906"/>
            <a:ext cx="9144000" cy="442912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39179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2AAE7-0BA8-3744-BA83-E4DD2D6E7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73980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889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7" name="Freeform 126">
            <a:extLst>
              <a:ext uri="{FF2B5EF4-FFF2-40B4-BE49-F238E27FC236}">
                <a16:creationId xmlns:a16="http://schemas.microsoft.com/office/drawing/2014/main" id="{EFC0C10F-3982-9147-899C-E9E66FD23416}"/>
              </a:ext>
            </a:extLst>
          </p:cNvPr>
          <p:cNvSpPr/>
          <p:nvPr userDrawn="1"/>
        </p:nvSpPr>
        <p:spPr>
          <a:xfrm>
            <a:off x="-1" y="0"/>
            <a:ext cx="6188529" cy="6858000"/>
          </a:xfrm>
          <a:custGeom>
            <a:avLst/>
            <a:gdLst>
              <a:gd name="connsiteX0" fmla="*/ 0 w 6057900"/>
              <a:gd name="connsiteY0" fmla="*/ 0 h 6858000"/>
              <a:gd name="connsiteX1" fmla="*/ 2819407 w 6057900"/>
              <a:gd name="connsiteY1" fmla="*/ 0 h 6858000"/>
              <a:gd name="connsiteX2" fmla="*/ 6057900 w 6057900"/>
              <a:gd name="connsiteY2" fmla="*/ 6858000 h 6858000"/>
              <a:gd name="connsiteX3" fmla="*/ 0 w 60579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57900" h="6858000">
                <a:moveTo>
                  <a:pt x="0" y="0"/>
                </a:moveTo>
                <a:lnTo>
                  <a:pt x="2819407" y="0"/>
                </a:lnTo>
                <a:lnTo>
                  <a:pt x="60579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6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33399" y="5415193"/>
            <a:ext cx="5241751" cy="530915"/>
          </a:xfrm>
          <a:prstGeom prst="rect">
            <a:avLst/>
          </a:prstGeom>
          <a:ln w="12700">
            <a:miter lim="400000"/>
          </a:ln>
        </p:spPr>
        <p:txBody>
          <a:bodyPr wrap="square" lIns="19050" tIns="19050" rIns="19050" bIns="19050">
            <a:spAutoFit/>
          </a:bodyPr>
          <a:lstStyle>
            <a:lvl1pPr marL="0" indent="0">
              <a:buNone/>
              <a:defRPr lang="en-US" sz="3200" b="1" kern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 rtl="0" eaLnBrk="1" hangingPunct="0"/>
            <a:r>
              <a:rPr lang="en-US"/>
              <a:t>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33399" y="6046119"/>
            <a:ext cx="5241751" cy="315471"/>
          </a:xfrm>
          <a:prstGeom prst="rect">
            <a:avLst/>
          </a:prstGeom>
          <a:ln w="12700">
            <a:miter lim="400000"/>
          </a:ln>
        </p:spPr>
        <p:txBody>
          <a:bodyPr wrap="square" lIns="19050" tIns="19050" rIns="19050" bIns="19050">
            <a:spAutoFit/>
          </a:bodyPr>
          <a:lstStyle>
            <a:lvl1pPr marL="0" indent="0">
              <a:buNone/>
              <a:defRPr lang="en-US" sz="1800" i="1" kern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 Semilight" panose="020B0402040204020203" pitchFamily="34" charset="0"/>
              </a:defRPr>
            </a:lvl1pPr>
          </a:lstStyle>
          <a:p>
            <a:pPr marL="0" lvl="0" rtl="0" eaLnBrk="1" hangingPunct="0"/>
            <a:r>
              <a:rPr lang="en-US"/>
              <a:t>Edit Master text styles</a:t>
            </a:r>
          </a:p>
        </p:txBody>
      </p:sp>
      <p:sp>
        <p:nvSpPr>
          <p:cNvPr id="156" name="Parallelogram 155">
            <a:extLst>
              <a:ext uri="{FF2B5EF4-FFF2-40B4-BE49-F238E27FC236}">
                <a16:creationId xmlns:a16="http://schemas.microsoft.com/office/drawing/2014/main" id="{60530952-495F-D04D-A85A-2D0FA6046D6C}"/>
              </a:ext>
            </a:extLst>
          </p:cNvPr>
          <p:cNvSpPr/>
          <p:nvPr userDrawn="1"/>
        </p:nvSpPr>
        <p:spPr>
          <a:xfrm flipV="1">
            <a:off x="3327105" y="38100"/>
            <a:ext cx="7511145" cy="6324600"/>
          </a:xfrm>
          <a:prstGeom prst="parallelogram">
            <a:avLst>
              <a:gd name="adj" fmla="val 33444"/>
            </a:avLst>
          </a:prstGeom>
          <a:solidFill>
            <a:schemeClr val="bg1">
              <a:alpha val="13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6935CD8-26DB-E946-ADAC-552BA0F75E80}"/>
              </a:ext>
            </a:extLst>
          </p:cNvPr>
          <p:cNvSpPr/>
          <p:nvPr userDrawn="1"/>
        </p:nvSpPr>
        <p:spPr>
          <a:xfrm>
            <a:off x="8523514" y="1"/>
            <a:ext cx="3668486" cy="6858000"/>
          </a:xfrm>
          <a:prstGeom prst="rect">
            <a:avLst/>
          </a:prstGeom>
          <a:solidFill>
            <a:srgbClr val="F5F6F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0" name="Parallelogram 109">
            <a:extLst>
              <a:ext uri="{FF2B5EF4-FFF2-40B4-BE49-F238E27FC236}">
                <a16:creationId xmlns:a16="http://schemas.microsoft.com/office/drawing/2014/main" id="{DF33B54D-D655-504F-989F-293F3F4C293F}"/>
              </a:ext>
            </a:extLst>
          </p:cNvPr>
          <p:cNvSpPr/>
          <p:nvPr userDrawn="1"/>
        </p:nvSpPr>
        <p:spPr>
          <a:xfrm flipH="1">
            <a:off x="4539339" y="1048214"/>
            <a:ext cx="7511145" cy="5809785"/>
          </a:xfrm>
          <a:prstGeom prst="parallelogram">
            <a:avLst>
              <a:gd name="adj" fmla="val 33444"/>
            </a:avLst>
          </a:prstGeom>
          <a:solidFill>
            <a:srgbClr val="00B050">
              <a:alpha val="75686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18" name="Picture Placeholder 117">
            <a:extLst>
              <a:ext uri="{FF2B5EF4-FFF2-40B4-BE49-F238E27FC236}">
                <a16:creationId xmlns:a16="http://schemas.microsoft.com/office/drawing/2014/main" id="{F1AEA2F3-4086-464D-8C19-6C8BCB7D0F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819400" y="0"/>
            <a:ext cx="9372600" cy="6858000"/>
          </a:xfrm>
          <a:custGeom>
            <a:avLst/>
            <a:gdLst>
              <a:gd name="connsiteX0" fmla="*/ 0 w 9372600"/>
              <a:gd name="connsiteY0" fmla="*/ 0 h 6858000"/>
              <a:gd name="connsiteX1" fmla="*/ 6134115 w 9372600"/>
              <a:gd name="connsiteY1" fmla="*/ 0 h 6858000"/>
              <a:gd name="connsiteX2" fmla="*/ 9372600 w 9372600"/>
              <a:gd name="connsiteY2" fmla="*/ 6858000 h 6858000"/>
              <a:gd name="connsiteX3" fmla="*/ 3238485 w 93726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72600" h="6858000">
                <a:moveTo>
                  <a:pt x="0" y="0"/>
                </a:moveTo>
                <a:lnTo>
                  <a:pt x="6134115" y="0"/>
                </a:lnTo>
                <a:lnTo>
                  <a:pt x="9372600" y="6858000"/>
                </a:lnTo>
                <a:lnTo>
                  <a:pt x="3238485" y="6858000"/>
                </a:lnTo>
                <a:close/>
              </a:path>
            </a:pathLst>
          </a:custGeom>
          <a:pattFill prst="lgCheck">
            <a:fgClr>
              <a:schemeClr val="accent4"/>
            </a:fgClr>
            <a:bgClr>
              <a:schemeClr val="accent5"/>
            </a:bgClr>
          </a:pattFill>
        </p:spPr>
        <p:txBody>
          <a:bodyPr bIns="827999" anchor="ctr"/>
          <a:lstStyle>
            <a:lvl1pPr marL="0" indent="0" algn="ctr">
              <a:buNone/>
              <a:defRPr lang="en-US" sz="1200" b="1" i="1" dirty="0">
                <a:solidFill>
                  <a:schemeClr val="accent2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marL="317500" lvl="0" indent="-317500" algn="ctr"/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0ECFCA8-7F85-4587-8BEA-BF05C687866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8223" y="-159995"/>
            <a:ext cx="3056493" cy="10732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0711020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75226" y="184260"/>
            <a:ext cx="11641546" cy="5130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>
                <a:solidFill>
                  <a:srgbClr val="FFFFFF"/>
                </a:solidFill>
              </a:rPr>
              <a:t>© </a:t>
            </a:r>
            <a:r>
              <a:rPr spc="-5">
                <a:solidFill>
                  <a:srgbClr val="FFFFFF"/>
                </a:solidFill>
              </a:rPr>
              <a:t>Copyright </a:t>
            </a:r>
            <a:r>
              <a:rPr>
                <a:solidFill>
                  <a:srgbClr val="FFFFFF"/>
                </a:solidFill>
              </a:rPr>
              <a:t>2020, Innosight</a:t>
            </a:r>
            <a:r>
              <a:rPr spc="-30">
                <a:solidFill>
                  <a:srgbClr val="FFFFFF"/>
                </a:solidFill>
              </a:rPr>
              <a:t> </a:t>
            </a:r>
            <a:r>
              <a:rPr>
                <a:solidFill>
                  <a:srgbClr val="FFFFFF"/>
                </a:solidFill>
              </a:rPr>
              <a:t>Consulting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pc="-5"/>
              <a:t>© </a:t>
            </a:r>
            <a:r>
              <a:rPr spc="-185"/>
              <a:t>202</a:t>
            </a:r>
            <a:r>
              <a:rPr sz="1800" spc="-277" baseline="6944"/>
              <a:t>©</a:t>
            </a:r>
            <a:r>
              <a:rPr sz="800" spc="-185"/>
              <a:t>0 </a:t>
            </a:r>
            <a:r>
              <a:rPr sz="800" spc="-240"/>
              <a:t>In</a:t>
            </a:r>
            <a:r>
              <a:rPr sz="1800" spc="-359" baseline="6944"/>
              <a:t>C</a:t>
            </a:r>
            <a:r>
              <a:rPr sz="800" spc="-240"/>
              <a:t>no</a:t>
            </a:r>
            <a:r>
              <a:rPr sz="1800" spc="-359" baseline="6944"/>
              <a:t>o</a:t>
            </a:r>
            <a:r>
              <a:rPr sz="800" spc="-240"/>
              <a:t>s</a:t>
            </a:r>
            <a:r>
              <a:rPr sz="1800" spc="-359" baseline="6944"/>
              <a:t>p</a:t>
            </a:r>
            <a:r>
              <a:rPr sz="800" spc="-240"/>
              <a:t>igh</a:t>
            </a:r>
            <a:r>
              <a:rPr sz="1800" spc="-359" baseline="6944"/>
              <a:t>y</a:t>
            </a:r>
            <a:r>
              <a:rPr sz="800" spc="-240"/>
              <a:t>t</a:t>
            </a:r>
            <a:r>
              <a:rPr sz="1800" spc="-359" baseline="6944"/>
              <a:t>r</a:t>
            </a:r>
            <a:r>
              <a:rPr sz="800" spc="-240"/>
              <a:t>C</a:t>
            </a:r>
            <a:r>
              <a:rPr sz="1800" spc="-359" baseline="6944"/>
              <a:t>ig</a:t>
            </a:r>
            <a:r>
              <a:rPr sz="800" spc="-240"/>
              <a:t>o</a:t>
            </a:r>
            <a:r>
              <a:rPr sz="1800" spc="-359" baseline="6944"/>
              <a:t>h</a:t>
            </a:r>
            <a:r>
              <a:rPr sz="800" spc="-240"/>
              <a:t>ns</a:t>
            </a:r>
            <a:r>
              <a:rPr sz="1800" spc="-359" baseline="6944"/>
              <a:t>t</a:t>
            </a:r>
            <a:r>
              <a:rPr sz="800" spc="-240"/>
              <a:t>ult</a:t>
            </a:r>
            <a:r>
              <a:rPr sz="1800" spc="-359" baseline="6944"/>
              <a:t>2</a:t>
            </a:r>
            <a:r>
              <a:rPr sz="800" spc="-240"/>
              <a:t>in</a:t>
            </a:r>
            <a:r>
              <a:rPr sz="1800" spc="-359" baseline="6944"/>
              <a:t>0</a:t>
            </a:r>
            <a:r>
              <a:rPr sz="800" spc="-240"/>
              <a:t>g</a:t>
            </a:r>
            <a:r>
              <a:rPr sz="1800" spc="-359" baseline="6944"/>
              <a:t>2</a:t>
            </a:r>
            <a:r>
              <a:rPr sz="800" spc="-240"/>
              <a:t>,</a:t>
            </a:r>
            <a:r>
              <a:rPr sz="800" spc="25"/>
              <a:t> </a:t>
            </a:r>
            <a:r>
              <a:rPr sz="800" spc="-260"/>
              <a:t>L</a:t>
            </a:r>
            <a:r>
              <a:rPr sz="1800" spc="-390" baseline="6944"/>
              <a:t>0</a:t>
            </a:r>
            <a:r>
              <a:rPr sz="800" spc="-260"/>
              <a:t>LC</a:t>
            </a:r>
            <a:r>
              <a:rPr sz="1800" spc="-390" baseline="6944"/>
              <a:t>, I</a:t>
            </a:r>
            <a:r>
              <a:rPr sz="800" spc="-260"/>
              <a:t>a</a:t>
            </a:r>
            <a:r>
              <a:rPr sz="1800" spc="-390" baseline="6944"/>
              <a:t>n</a:t>
            </a:r>
            <a:r>
              <a:rPr sz="800" spc="-260"/>
              <a:t>n</a:t>
            </a:r>
            <a:r>
              <a:rPr sz="1800" spc="-390" baseline="6944"/>
              <a:t>n</a:t>
            </a:r>
            <a:r>
              <a:rPr sz="800" spc="-260"/>
              <a:t>d</a:t>
            </a:r>
            <a:r>
              <a:rPr sz="1800" spc="-390" baseline="6944"/>
              <a:t>o</a:t>
            </a:r>
            <a:r>
              <a:rPr sz="800" spc="-260"/>
              <a:t>/o</a:t>
            </a:r>
            <a:r>
              <a:rPr sz="1800" spc="-390" baseline="6944"/>
              <a:t>s</a:t>
            </a:r>
            <a:r>
              <a:rPr sz="800" spc="-260"/>
              <a:t>r</a:t>
            </a:r>
            <a:r>
              <a:rPr sz="800" spc="-130"/>
              <a:t> </a:t>
            </a:r>
            <a:r>
              <a:rPr sz="1800" spc="-277" baseline="6944"/>
              <a:t>i</a:t>
            </a:r>
            <a:r>
              <a:rPr sz="800" spc="-185"/>
              <a:t>i</a:t>
            </a:r>
            <a:r>
              <a:rPr sz="1800" spc="-277" baseline="6944"/>
              <a:t>g</a:t>
            </a:r>
            <a:r>
              <a:rPr sz="800" spc="-185"/>
              <a:t>ts</a:t>
            </a:r>
            <a:r>
              <a:rPr sz="800" spc="-170"/>
              <a:t> </a:t>
            </a:r>
            <a:r>
              <a:rPr sz="1800" spc="-195" baseline="6944"/>
              <a:t>h</a:t>
            </a:r>
            <a:r>
              <a:rPr sz="800" spc="-130"/>
              <a:t>af</a:t>
            </a:r>
            <a:r>
              <a:rPr sz="1800" spc="-195" baseline="6944"/>
              <a:t>t</a:t>
            </a:r>
            <a:r>
              <a:rPr sz="800" spc="-130"/>
              <a:t>fili</a:t>
            </a:r>
            <a:r>
              <a:rPr sz="1800" spc="-195" baseline="6944"/>
              <a:t>C</a:t>
            </a:r>
            <a:r>
              <a:rPr sz="800" spc="-130"/>
              <a:t>ate</a:t>
            </a:r>
            <a:r>
              <a:rPr sz="1800" spc="-195" baseline="6944"/>
              <a:t>o</a:t>
            </a:r>
            <a:r>
              <a:rPr sz="800" spc="-130"/>
              <a:t>s</a:t>
            </a:r>
            <a:r>
              <a:rPr sz="1800" spc="-195" baseline="6944"/>
              <a:t>nsulting</a:t>
            </a:r>
            <a:fld id="{81D60167-4931-47E6-BA6A-407CBD079E47}" type="slidenum">
              <a:rPr sz="800" spc="-130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38268347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000" b="1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>
                <a:solidFill>
                  <a:srgbClr val="FFFFFF"/>
                </a:solidFill>
              </a:rPr>
              <a:t>© </a:t>
            </a:r>
            <a:r>
              <a:rPr spc="-5">
                <a:solidFill>
                  <a:srgbClr val="FFFFFF"/>
                </a:solidFill>
              </a:rPr>
              <a:t>Copyright </a:t>
            </a:r>
            <a:r>
              <a:rPr>
                <a:solidFill>
                  <a:srgbClr val="FFFFFF"/>
                </a:solidFill>
              </a:rPr>
              <a:t>2020, Innosight</a:t>
            </a:r>
            <a:r>
              <a:rPr spc="-30">
                <a:solidFill>
                  <a:srgbClr val="FFFFFF"/>
                </a:solidFill>
              </a:rPr>
              <a:t> </a:t>
            </a:r>
            <a:r>
              <a:rPr>
                <a:solidFill>
                  <a:srgbClr val="FFFFFF"/>
                </a:solidFill>
              </a:rPr>
              <a:t>Consulting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pc="-5"/>
              <a:t>© </a:t>
            </a:r>
            <a:r>
              <a:rPr spc="-185"/>
              <a:t>202</a:t>
            </a:r>
            <a:r>
              <a:rPr sz="1800" spc="-277" baseline="6944"/>
              <a:t>©</a:t>
            </a:r>
            <a:r>
              <a:rPr sz="800" spc="-185"/>
              <a:t>0 </a:t>
            </a:r>
            <a:r>
              <a:rPr sz="800" spc="-240"/>
              <a:t>In</a:t>
            </a:r>
            <a:r>
              <a:rPr sz="1800" spc="-359" baseline="6944"/>
              <a:t>C</a:t>
            </a:r>
            <a:r>
              <a:rPr sz="800" spc="-240"/>
              <a:t>no</a:t>
            </a:r>
            <a:r>
              <a:rPr sz="1800" spc="-359" baseline="6944"/>
              <a:t>o</a:t>
            </a:r>
            <a:r>
              <a:rPr sz="800" spc="-240"/>
              <a:t>s</a:t>
            </a:r>
            <a:r>
              <a:rPr sz="1800" spc="-359" baseline="6944"/>
              <a:t>p</a:t>
            </a:r>
            <a:r>
              <a:rPr sz="800" spc="-240"/>
              <a:t>igh</a:t>
            </a:r>
            <a:r>
              <a:rPr sz="1800" spc="-359" baseline="6944"/>
              <a:t>y</a:t>
            </a:r>
            <a:r>
              <a:rPr sz="800" spc="-240"/>
              <a:t>t</a:t>
            </a:r>
            <a:r>
              <a:rPr sz="1800" spc="-359" baseline="6944"/>
              <a:t>r</a:t>
            </a:r>
            <a:r>
              <a:rPr sz="800" spc="-240"/>
              <a:t>C</a:t>
            </a:r>
            <a:r>
              <a:rPr sz="1800" spc="-359" baseline="6944"/>
              <a:t>ig</a:t>
            </a:r>
            <a:r>
              <a:rPr sz="800" spc="-240"/>
              <a:t>o</a:t>
            </a:r>
            <a:r>
              <a:rPr sz="1800" spc="-359" baseline="6944"/>
              <a:t>h</a:t>
            </a:r>
            <a:r>
              <a:rPr sz="800" spc="-240"/>
              <a:t>ns</a:t>
            </a:r>
            <a:r>
              <a:rPr sz="1800" spc="-359" baseline="6944"/>
              <a:t>t</a:t>
            </a:r>
            <a:r>
              <a:rPr sz="800" spc="-240"/>
              <a:t>ult</a:t>
            </a:r>
            <a:r>
              <a:rPr sz="1800" spc="-359" baseline="6944"/>
              <a:t>2</a:t>
            </a:r>
            <a:r>
              <a:rPr sz="800" spc="-240"/>
              <a:t>in</a:t>
            </a:r>
            <a:r>
              <a:rPr sz="1800" spc="-359" baseline="6944"/>
              <a:t>0</a:t>
            </a:r>
            <a:r>
              <a:rPr sz="800" spc="-240"/>
              <a:t>g</a:t>
            </a:r>
            <a:r>
              <a:rPr sz="1800" spc="-359" baseline="6944"/>
              <a:t>2</a:t>
            </a:r>
            <a:r>
              <a:rPr sz="800" spc="-240"/>
              <a:t>,</a:t>
            </a:r>
            <a:r>
              <a:rPr sz="800" spc="25"/>
              <a:t> </a:t>
            </a:r>
            <a:r>
              <a:rPr sz="800" spc="-260"/>
              <a:t>L</a:t>
            </a:r>
            <a:r>
              <a:rPr sz="1800" spc="-390" baseline="6944"/>
              <a:t>0</a:t>
            </a:r>
            <a:r>
              <a:rPr sz="800" spc="-260"/>
              <a:t>LC</a:t>
            </a:r>
            <a:r>
              <a:rPr sz="1800" spc="-390" baseline="6944"/>
              <a:t>, I</a:t>
            </a:r>
            <a:r>
              <a:rPr sz="800" spc="-260"/>
              <a:t>a</a:t>
            </a:r>
            <a:r>
              <a:rPr sz="1800" spc="-390" baseline="6944"/>
              <a:t>n</a:t>
            </a:r>
            <a:r>
              <a:rPr sz="800" spc="-260"/>
              <a:t>n</a:t>
            </a:r>
            <a:r>
              <a:rPr sz="1800" spc="-390" baseline="6944"/>
              <a:t>n</a:t>
            </a:r>
            <a:r>
              <a:rPr sz="800" spc="-260"/>
              <a:t>d</a:t>
            </a:r>
            <a:r>
              <a:rPr sz="1800" spc="-390" baseline="6944"/>
              <a:t>o</a:t>
            </a:r>
            <a:r>
              <a:rPr sz="800" spc="-260"/>
              <a:t>/o</a:t>
            </a:r>
            <a:r>
              <a:rPr sz="1800" spc="-390" baseline="6944"/>
              <a:t>s</a:t>
            </a:r>
            <a:r>
              <a:rPr sz="800" spc="-260"/>
              <a:t>r</a:t>
            </a:r>
            <a:r>
              <a:rPr sz="800" spc="-130"/>
              <a:t> </a:t>
            </a:r>
            <a:r>
              <a:rPr sz="1800" spc="-277" baseline="6944"/>
              <a:t>i</a:t>
            </a:r>
            <a:r>
              <a:rPr sz="800" spc="-185"/>
              <a:t>i</a:t>
            </a:r>
            <a:r>
              <a:rPr sz="1800" spc="-277" baseline="6944"/>
              <a:t>g</a:t>
            </a:r>
            <a:r>
              <a:rPr sz="800" spc="-185"/>
              <a:t>ts</a:t>
            </a:r>
            <a:r>
              <a:rPr sz="800" spc="-170"/>
              <a:t> </a:t>
            </a:r>
            <a:r>
              <a:rPr sz="1800" spc="-195" baseline="6944"/>
              <a:t>h</a:t>
            </a:r>
            <a:r>
              <a:rPr sz="800" spc="-130"/>
              <a:t>af</a:t>
            </a:r>
            <a:r>
              <a:rPr sz="1800" spc="-195" baseline="6944"/>
              <a:t>t</a:t>
            </a:r>
            <a:r>
              <a:rPr sz="800" spc="-130"/>
              <a:t>fili</a:t>
            </a:r>
            <a:r>
              <a:rPr sz="1800" spc="-195" baseline="6944"/>
              <a:t>C</a:t>
            </a:r>
            <a:r>
              <a:rPr sz="800" spc="-130"/>
              <a:t>ate</a:t>
            </a:r>
            <a:r>
              <a:rPr sz="1800" spc="-195" baseline="6944"/>
              <a:t>o</a:t>
            </a:r>
            <a:r>
              <a:rPr sz="800" spc="-130"/>
              <a:t>s</a:t>
            </a:r>
            <a:r>
              <a:rPr sz="1800" spc="-195" baseline="6944"/>
              <a:t>nsulting</a:t>
            </a:r>
            <a:fld id="{81D60167-4931-47E6-BA6A-407CBD079E47}" type="slidenum">
              <a:rPr sz="800" spc="-130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987689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000" b="1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>
                <a:solidFill>
                  <a:srgbClr val="FFFFFF"/>
                </a:solidFill>
              </a:rPr>
              <a:t>© </a:t>
            </a:r>
            <a:r>
              <a:rPr spc="-5">
                <a:solidFill>
                  <a:srgbClr val="FFFFFF"/>
                </a:solidFill>
              </a:rPr>
              <a:t>Copyright </a:t>
            </a:r>
            <a:r>
              <a:rPr>
                <a:solidFill>
                  <a:srgbClr val="FFFFFF"/>
                </a:solidFill>
              </a:rPr>
              <a:t>2020, Innosight</a:t>
            </a:r>
            <a:r>
              <a:rPr spc="-30">
                <a:solidFill>
                  <a:srgbClr val="FFFFFF"/>
                </a:solidFill>
              </a:rPr>
              <a:t> </a:t>
            </a:r>
            <a:r>
              <a:rPr>
                <a:solidFill>
                  <a:srgbClr val="FFFFFF"/>
                </a:solidFill>
              </a:rPr>
              <a:t>Consulting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pc="-5"/>
              <a:t>© </a:t>
            </a:r>
            <a:r>
              <a:rPr spc="-185"/>
              <a:t>202</a:t>
            </a:r>
            <a:r>
              <a:rPr sz="1800" spc="-277" baseline="6944"/>
              <a:t>©</a:t>
            </a:r>
            <a:r>
              <a:rPr sz="800" spc="-185"/>
              <a:t>0 </a:t>
            </a:r>
            <a:r>
              <a:rPr sz="800" spc="-240"/>
              <a:t>In</a:t>
            </a:r>
            <a:r>
              <a:rPr sz="1800" spc="-359" baseline="6944"/>
              <a:t>C</a:t>
            </a:r>
            <a:r>
              <a:rPr sz="800" spc="-240"/>
              <a:t>no</a:t>
            </a:r>
            <a:r>
              <a:rPr sz="1800" spc="-359" baseline="6944"/>
              <a:t>o</a:t>
            </a:r>
            <a:r>
              <a:rPr sz="800" spc="-240"/>
              <a:t>s</a:t>
            </a:r>
            <a:r>
              <a:rPr sz="1800" spc="-359" baseline="6944"/>
              <a:t>p</a:t>
            </a:r>
            <a:r>
              <a:rPr sz="800" spc="-240"/>
              <a:t>igh</a:t>
            </a:r>
            <a:r>
              <a:rPr sz="1800" spc="-359" baseline="6944"/>
              <a:t>y</a:t>
            </a:r>
            <a:r>
              <a:rPr sz="800" spc="-240"/>
              <a:t>t</a:t>
            </a:r>
            <a:r>
              <a:rPr sz="1800" spc="-359" baseline="6944"/>
              <a:t>r</a:t>
            </a:r>
            <a:r>
              <a:rPr sz="800" spc="-240"/>
              <a:t>C</a:t>
            </a:r>
            <a:r>
              <a:rPr sz="1800" spc="-359" baseline="6944"/>
              <a:t>ig</a:t>
            </a:r>
            <a:r>
              <a:rPr sz="800" spc="-240"/>
              <a:t>o</a:t>
            </a:r>
            <a:r>
              <a:rPr sz="1800" spc="-359" baseline="6944"/>
              <a:t>h</a:t>
            </a:r>
            <a:r>
              <a:rPr sz="800" spc="-240"/>
              <a:t>ns</a:t>
            </a:r>
            <a:r>
              <a:rPr sz="1800" spc="-359" baseline="6944"/>
              <a:t>t</a:t>
            </a:r>
            <a:r>
              <a:rPr sz="800" spc="-240"/>
              <a:t>ult</a:t>
            </a:r>
            <a:r>
              <a:rPr sz="1800" spc="-359" baseline="6944"/>
              <a:t>2</a:t>
            </a:r>
            <a:r>
              <a:rPr sz="800" spc="-240"/>
              <a:t>in</a:t>
            </a:r>
            <a:r>
              <a:rPr sz="1800" spc="-359" baseline="6944"/>
              <a:t>0</a:t>
            </a:r>
            <a:r>
              <a:rPr sz="800" spc="-240"/>
              <a:t>g</a:t>
            </a:r>
            <a:r>
              <a:rPr sz="1800" spc="-359" baseline="6944"/>
              <a:t>2</a:t>
            </a:r>
            <a:r>
              <a:rPr sz="800" spc="-240"/>
              <a:t>,</a:t>
            </a:r>
            <a:r>
              <a:rPr sz="800" spc="25"/>
              <a:t> </a:t>
            </a:r>
            <a:r>
              <a:rPr sz="800" spc="-260"/>
              <a:t>L</a:t>
            </a:r>
            <a:r>
              <a:rPr sz="1800" spc="-390" baseline="6944"/>
              <a:t>0</a:t>
            </a:r>
            <a:r>
              <a:rPr sz="800" spc="-260"/>
              <a:t>LC</a:t>
            </a:r>
            <a:r>
              <a:rPr sz="1800" spc="-390" baseline="6944"/>
              <a:t>, I</a:t>
            </a:r>
            <a:r>
              <a:rPr sz="800" spc="-260"/>
              <a:t>a</a:t>
            </a:r>
            <a:r>
              <a:rPr sz="1800" spc="-390" baseline="6944"/>
              <a:t>n</a:t>
            </a:r>
            <a:r>
              <a:rPr sz="800" spc="-260"/>
              <a:t>n</a:t>
            </a:r>
            <a:r>
              <a:rPr sz="1800" spc="-390" baseline="6944"/>
              <a:t>n</a:t>
            </a:r>
            <a:r>
              <a:rPr sz="800" spc="-260"/>
              <a:t>d</a:t>
            </a:r>
            <a:r>
              <a:rPr sz="1800" spc="-390" baseline="6944"/>
              <a:t>o</a:t>
            </a:r>
            <a:r>
              <a:rPr sz="800" spc="-260"/>
              <a:t>/o</a:t>
            </a:r>
            <a:r>
              <a:rPr sz="1800" spc="-390" baseline="6944"/>
              <a:t>s</a:t>
            </a:r>
            <a:r>
              <a:rPr sz="800" spc="-260"/>
              <a:t>r</a:t>
            </a:r>
            <a:r>
              <a:rPr sz="800" spc="-130"/>
              <a:t> </a:t>
            </a:r>
            <a:r>
              <a:rPr sz="1800" spc="-277" baseline="6944"/>
              <a:t>i</a:t>
            </a:r>
            <a:r>
              <a:rPr sz="800" spc="-185"/>
              <a:t>i</a:t>
            </a:r>
            <a:r>
              <a:rPr sz="1800" spc="-277" baseline="6944"/>
              <a:t>g</a:t>
            </a:r>
            <a:r>
              <a:rPr sz="800" spc="-185"/>
              <a:t>ts</a:t>
            </a:r>
            <a:r>
              <a:rPr sz="800" spc="-170"/>
              <a:t> </a:t>
            </a:r>
            <a:r>
              <a:rPr sz="1800" spc="-195" baseline="6944"/>
              <a:t>h</a:t>
            </a:r>
            <a:r>
              <a:rPr sz="800" spc="-130"/>
              <a:t>af</a:t>
            </a:r>
            <a:r>
              <a:rPr sz="1800" spc="-195" baseline="6944"/>
              <a:t>t</a:t>
            </a:r>
            <a:r>
              <a:rPr sz="800" spc="-130"/>
              <a:t>fili</a:t>
            </a:r>
            <a:r>
              <a:rPr sz="1800" spc="-195" baseline="6944"/>
              <a:t>C</a:t>
            </a:r>
            <a:r>
              <a:rPr sz="800" spc="-130"/>
              <a:t>ate</a:t>
            </a:r>
            <a:r>
              <a:rPr sz="1800" spc="-195" baseline="6944"/>
              <a:t>o</a:t>
            </a:r>
            <a:r>
              <a:rPr sz="800" spc="-130"/>
              <a:t>s</a:t>
            </a:r>
            <a:r>
              <a:rPr sz="1800" spc="-195" baseline="6944"/>
              <a:t>nsulting</a:t>
            </a:r>
            <a:fld id="{81D60167-4931-47E6-BA6A-407CBD079E47}" type="slidenum">
              <a:rPr sz="800" spc="-130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16062265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000" b="1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>
                <a:solidFill>
                  <a:srgbClr val="FFFFFF"/>
                </a:solidFill>
              </a:rPr>
              <a:t>© </a:t>
            </a:r>
            <a:r>
              <a:rPr spc="-5">
                <a:solidFill>
                  <a:srgbClr val="FFFFFF"/>
                </a:solidFill>
              </a:rPr>
              <a:t>Copyright </a:t>
            </a:r>
            <a:r>
              <a:rPr>
                <a:solidFill>
                  <a:srgbClr val="FFFFFF"/>
                </a:solidFill>
              </a:rPr>
              <a:t>2020, Innosight</a:t>
            </a:r>
            <a:r>
              <a:rPr spc="-30">
                <a:solidFill>
                  <a:srgbClr val="FFFFFF"/>
                </a:solidFill>
              </a:rPr>
              <a:t> </a:t>
            </a:r>
            <a:r>
              <a:rPr>
                <a:solidFill>
                  <a:srgbClr val="FFFFFF"/>
                </a:solidFill>
              </a:rPr>
              <a:t>Consulting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pc="-5"/>
              <a:t>© </a:t>
            </a:r>
            <a:r>
              <a:rPr spc="-185"/>
              <a:t>202</a:t>
            </a:r>
            <a:r>
              <a:rPr sz="1800" spc="-277" baseline="6944"/>
              <a:t>©</a:t>
            </a:r>
            <a:r>
              <a:rPr sz="800" spc="-185"/>
              <a:t>0 </a:t>
            </a:r>
            <a:r>
              <a:rPr sz="800" spc="-240"/>
              <a:t>In</a:t>
            </a:r>
            <a:r>
              <a:rPr sz="1800" spc="-359" baseline="6944"/>
              <a:t>C</a:t>
            </a:r>
            <a:r>
              <a:rPr sz="800" spc="-240"/>
              <a:t>no</a:t>
            </a:r>
            <a:r>
              <a:rPr sz="1800" spc="-359" baseline="6944"/>
              <a:t>o</a:t>
            </a:r>
            <a:r>
              <a:rPr sz="800" spc="-240"/>
              <a:t>s</a:t>
            </a:r>
            <a:r>
              <a:rPr sz="1800" spc="-359" baseline="6944"/>
              <a:t>p</a:t>
            </a:r>
            <a:r>
              <a:rPr sz="800" spc="-240"/>
              <a:t>igh</a:t>
            </a:r>
            <a:r>
              <a:rPr sz="1800" spc="-359" baseline="6944"/>
              <a:t>y</a:t>
            </a:r>
            <a:r>
              <a:rPr sz="800" spc="-240"/>
              <a:t>t</a:t>
            </a:r>
            <a:r>
              <a:rPr sz="1800" spc="-359" baseline="6944"/>
              <a:t>r</a:t>
            </a:r>
            <a:r>
              <a:rPr sz="800" spc="-240"/>
              <a:t>C</a:t>
            </a:r>
            <a:r>
              <a:rPr sz="1800" spc="-359" baseline="6944"/>
              <a:t>ig</a:t>
            </a:r>
            <a:r>
              <a:rPr sz="800" spc="-240"/>
              <a:t>o</a:t>
            </a:r>
            <a:r>
              <a:rPr sz="1800" spc="-359" baseline="6944"/>
              <a:t>h</a:t>
            </a:r>
            <a:r>
              <a:rPr sz="800" spc="-240"/>
              <a:t>ns</a:t>
            </a:r>
            <a:r>
              <a:rPr sz="1800" spc="-359" baseline="6944"/>
              <a:t>t</a:t>
            </a:r>
            <a:r>
              <a:rPr sz="800" spc="-240"/>
              <a:t>ult</a:t>
            </a:r>
            <a:r>
              <a:rPr sz="1800" spc="-359" baseline="6944"/>
              <a:t>2</a:t>
            </a:r>
            <a:r>
              <a:rPr sz="800" spc="-240"/>
              <a:t>in</a:t>
            </a:r>
            <a:r>
              <a:rPr sz="1800" spc="-359" baseline="6944"/>
              <a:t>0</a:t>
            </a:r>
            <a:r>
              <a:rPr sz="800" spc="-240"/>
              <a:t>g</a:t>
            </a:r>
            <a:r>
              <a:rPr sz="1800" spc="-359" baseline="6944"/>
              <a:t>2</a:t>
            </a:r>
            <a:r>
              <a:rPr sz="800" spc="-240"/>
              <a:t>,</a:t>
            </a:r>
            <a:r>
              <a:rPr sz="800" spc="25"/>
              <a:t> </a:t>
            </a:r>
            <a:r>
              <a:rPr sz="800" spc="-260"/>
              <a:t>L</a:t>
            </a:r>
            <a:r>
              <a:rPr sz="1800" spc="-390" baseline="6944"/>
              <a:t>0</a:t>
            </a:r>
            <a:r>
              <a:rPr sz="800" spc="-260"/>
              <a:t>LC</a:t>
            </a:r>
            <a:r>
              <a:rPr sz="1800" spc="-390" baseline="6944"/>
              <a:t>, I</a:t>
            </a:r>
            <a:r>
              <a:rPr sz="800" spc="-260"/>
              <a:t>a</a:t>
            </a:r>
            <a:r>
              <a:rPr sz="1800" spc="-390" baseline="6944"/>
              <a:t>n</a:t>
            </a:r>
            <a:r>
              <a:rPr sz="800" spc="-260"/>
              <a:t>n</a:t>
            </a:r>
            <a:r>
              <a:rPr sz="1800" spc="-390" baseline="6944"/>
              <a:t>n</a:t>
            </a:r>
            <a:r>
              <a:rPr sz="800" spc="-260"/>
              <a:t>d</a:t>
            </a:r>
            <a:r>
              <a:rPr sz="1800" spc="-390" baseline="6944"/>
              <a:t>o</a:t>
            </a:r>
            <a:r>
              <a:rPr sz="800" spc="-260"/>
              <a:t>/o</a:t>
            </a:r>
            <a:r>
              <a:rPr sz="1800" spc="-390" baseline="6944"/>
              <a:t>s</a:t>
            </a:r>
            <a:r>
              <a:rPr sz="800" spc="-260"/>
              <a:t>r</a:t>
            </a:r>
            <a:r>
              <a:rPr sz="800" spc="-130"/>
              <a:t> </a:t>
            </a:r>
            <a:r>
              <a:rPr sz="1800" spc="-277" baseline="6944"/>
              <a:t>i</a:t>
            </a:r>
            <a:r>
              <a:rPr sz="800" spc="-185"/>
              <a:t>i</a:t>
            </a:r>
            <a:r>
              <a:rPr sz="1800" spc="-277" baseline="6944"/>
              <a:t>g</a:t>
            </a:r>
            <a:r>
              <a:rPr sz="800" spc="-185"/>
              <a:t>ts</a:t>
            </a:r>
            <a:r>
              <a:rPr sz="800" spc="-170"/>
              <a:t> </a:t>
            </a:r>
            <a:r>
              <a:rPr sz="1800" spc="-195" baseline="6944"/>
              <a:t>h</a:t>
            </a:r>
            <a:r>
              <a:rPr sz="800" spc="-130"/>
              <a:t>af</a:t>
            </a:r>
            <a:r>
              <a:rPr sz="1800" spc="-195" baseline="6944"/>
              <a:t>t</a:t>
            </a:r>
            <a:r>
              <a:rPr sz="800" spc="-130"/>
              <a:t>fili</a:t>
            </a:r>
            <a:r>
              <a:rPr sz="1800" spc="-195" baseline="6944"/>
              <a:t>C</a:t>
            </a:r>
            <a:r>
              <a:rPr sz="800" spc="-130"/>
              <a:t>ate</a:t>
            </a:r>
            <a:r>
              <a:rPr sz="1800" spc="-195" baseline="6944"/>
              <a:t>o</a:t>
            </a:r>
            <a:r>
              <a:rPr sz="800" spc="-130"/>
              <a:t>s</a:t>
            </a:r>
            <a:r>
              <a:rPr sz="1800" spc="-195" baseline="6944"/>
              <a:t>nsulting</a:t>
            </a:r>
            <a:fld id="{81D60167-4931-47E6-BA6A-407CBD079E47}" type="slidenum">
              <a:rPr sz="800" spc="-130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3184523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>
                <a:solidFill>
                  <a:srgbClr val="FFFFFF"/>
                </a:solidFill>
              </a:rPr>
              <a:t>© </a:t>
            </a:r>
            <a:r>
              <a:rPr spc="-5">
                <a:solidFill>
                  <a:srgbClr val="FFFFFF"/>
                </a:solidFill>
              </a:rPr>
              <a:t>Copyright </a:t>
            </a:r>
            <a:r>
              <a:rPr>
                <a:solidFill>
                  <a:srgbClr val="FFFFFF"/>
                </a:solidFill>
              </a:rPr>
              <a:t>2020, Innosight</a:t>
            </a:r>
            <a:r>
              <a:rPr spc="-30">
                <a:solidFill>
                  <a:srgbClr val="FFFFFF"/>
                </a:solidFill>
              </a:rPr>
              <a:t> </a:t>
            </a:r>
            <a:r>
              <a:rPr>
                <a:solidFill>
                  <a:srgbClr val="FFFFFF"/>
                </a:solidFill>
              </a:rPr>
              <a:t>Consulting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pc="-5"/>
              <a:t>© </a:t>
            </a:r>
            <a:r>
              <a:rPr spc="-185"/>
              <a:t>202</a:t>
            </a:r>
            <a:r>
              <a:rPr sz="1800" spc="-277" baseline="6944"/>
              <a:t>©</a:t>
            </a:r>
            <a:r>
              <a:rPr sz="800" spc="-185"/>
              <a:t>0 </a:t>
            </a:r>
            <a:r>
              <a:rPr sz="800" spc="-240"/>
              <a:t>In</a:t>
            </a:r>
            <a:r>
              <a:rPr sz="1800" spc="-359" baseline="6944"/>
              <a:t>C</a:t>
            </a:r>
            <a:r>
              <a:rPr sz="800" spc="-240"/>
              <a:t>no</a:t>
            </a:r>
            <a:r>
              <a:rPr sz="1800" spc="-359" baseline="6944"/>
              <a:t>o</a:t>
            </a:r>
            <a:r>
              <a:rPr sz="800" spc="-240"/>
              <a:t>s</a:t>
            </a:r>
            <a:r>
              <a:rPr sz="1800" spc="-359" baseline="6944"/>
              <a:t>p</a:t>
            </a:r>
            <a:r>
              <a:rPr sz="800" spc="-240"/>
              <a:t>igh</a:t>
            </a:r>
            <a:r>
              <a:rPr sz="1800" spc="-359" baseline="6944"/>
              <a:t>y</a:t>
            </a:r>
            <a:r>
              <a:rPr sz="800" spc="-240"/>
              <a:t>t</a:t>
            </a:r>
            <a:r>
              <a:rPr sz="1800" spc="-359" baseline="6944"/>
              <a:t>r</a:t>
            </a:r>
            <a:r>
              <a:rPr sz="800" spc="-240"/>
              <a:t>C</a:t>
            </a:r>
            <a:r>
              <a:rPr sz="1800" spc="-359" baseline="6944"/>
              <a:t>ig</a:t>
            </a:r>
            <a:r>
              <a:rPr sz="800" spc="-240"/>
              <a:t>o</a:t>
            </a:r>
            <a:r>
              <a:rPr sz="1800" spc="-359" baseline="6944"/>
              <a:t>h</a:t>
            </a:r>
            <a:r>
              <a:rPr sz="800" spc="-240"/>
              <a:t>ns</a:t>
            </a:r>
            <a:r>
              <a:rPr sz="1800" spc="-359" baseline="6944"/>
              <a:t>t</a:t>
            </a:r>
            <a:r>
              <a:rPr sz="800" spc="-240"/>
              <a:t>ult</a:t>
            </a:r>
            <a:r>
              <a:rPr sz="1800" spc="-359" baseline="6944"/>
              <a:t>2</a:t>
            </a:r>
            <a:r>
              <a:rPr sz="800" spc="-240"/>
              <a:t>in</a:t>
            </a:r>
            <a:r>
              <a:rPr sz="1800" spc="-359" baseline="6944"/>
              <a:t>0</a:t>
            </a:r>
            <a:r>
              <a:rPr sz="800" spc="-240"/>
              <a:t>g</a:t>
            </a:r>
            <a:r>
              <a:rPr sz="1800" spc="-359" baseline="6944"/>
              <a:t>2</a:t>
            </a:r>
            <a:r>
              <a:rPr sz="800" spc="-240"/>
              <a:t>,</a:t>
            </a:r>
            <a:r>
              <a:rPr sz="800" spc="25"/>
              <a:t> </a:t>
            </a:r>
            <a:r>
              <a:rPr sz="800" spc="-260"/>
              <a:t>L</a:t>
            </a:r>
            <a:r>
              <a:rPr sz="1800" spc="-390" baseline="6944"/>
              <a:t>0</a:t>
            </a:r>
            <a:r>
              <a:rPr sz="800" spc="-260"/>
              <a:t>LC</a:t>
            </a:r>
            <a:r>
              <a:rPr sz="1800" spc="-390" baseline="6944"/>
              <a:t>, I</a:t>
            </a:r>
            <a:r>
              <a:rPr sz="800" spc="-260"/>
              <a:t>a</a:t>
            </a:r>
            <a:r>
              <a:rPr sz="1800" spc="-390" baseline="6944"/>
              <a:t>n</a:t>
            </a:r>
            <a:r>
              <a:rPr sz="800" spc="-260"/>
              <a:t>n</a:t>
            </a:r>
            <a:r>
              <a:rPr sz="1800" spc="-390" baseline="6944"/>
              <a:t>n</a:t>
            </a:r>
            <a:r>
              <a:rPr sz="800" spc="-260"/>
              <a:t>d</a:t>
            </a:r>
            <a:r>
              <a:rPr sz="1800" spc="-390" baseline="6944"/>
              <a:t>o</a:t>
            </a:r>
            <a:r>
              <a:rPr sz="800" spc="-260"/>
              <a:t>/o</a:t>
            </a:r>
            <a:r>
              <a:rPr sz="1800" spc="-390" baseline="6944"/>
              <a:t>s</a:t>
            </a:r>
            <a:r>
              <a:rPr sz="800" spc="-260"/>
              <a:t>r</a:t>
            </a:r>
            <a:r>
              <a:rPr sz="800" spc="-130"/>
              <a:t> </a:t>
            </a:r>
            <a:r>
              <a:rPr sz="1800" spc="-277" baseline="6944"/>
              <a:t>i</a:t>
            </a:r>
            <a:r>
              <a:rPr sz="800" spc="-185"/>
              <a:t>i</a:t>
            </a:r>
            <a:r>
              <a:rPr sz="1800" spc="-277" baseline="6944"/>
              <a:t>g</a:t>
            </a:r>
            <a:r>
              <a:rPr sz="800" spc="-185"/>
              <a:t>ts</a:t>
            </a:r>
            <a:r>
              <a:rPr sz="800" spc="-170"/>
              <a:t> </a:t>
            </a:r>
            <a:r>
              <a:rPr sz="1800" spc="-195" baseline="6944"/>
              <a:t>h</a:t>
            </a:r>
            <a:r>
              <a:rPr sz="800" spc="-130"/>
              <a:t>af</a:t>
            </a:r>
            <a:r>
              <a:rPr sz="1800" spc="-195" baseline="6944"/>
              <a:t>t</a:t>
            </a:r>
            <a:r>
              <a:rPr sz="800" spc="-130"/>
              <a:t>fili</a:t>
            </a:r>
            <a:r>
              <a:rPr sz="1800" spc="-195" baseline="6944"/>
              <a:t>C</a:t>
            </a:r>
            <a:r>
              <a:rPr sz="800" spc="-130"/>
              <a:t>ate</a:t>
            </a:r>
            <a:r>
              <a:rPr sz="1800" spc="-195" baseline="6944"/>
              <a:t>o</a:t>
            </a:r>
            <a:r>
              <a:rPr sz="800" spc="-130"/>
              <a:t>s</a:t>
            </a:r>
            <a:r>
              <a:rPr sz="1800" spc="-195" baseline="6944"/>
              <a:t>nsulting</a:t>
            </a:r>
            <a:fld id="{81D60167-4931-47E6-BA6A-407CBD079E47}" type="slidenum">
              <a:rPr sz="800" spc="-130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3784452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D8A56D-16F2-404D-8832-2D4FEEC27464}"/>
              </a:ext>
            </a:extLst>
          </p:cNvPr>
          <p:cNvSpPr/>
          <p:nvPr/>
        </p:nvSpPr>
        <p:spPr>
          <a:xfrm>
            <a:off x="56367" y="883075"/>
            <a:ext cx="11843359" cy="3883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C3F83C-121A-4943-8CAA-AA2AAF9A2B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6A3E7D8-A0FA-4B22-8483-4CC7916135D8}"/>
              </a:ext>
            </a:extLst>
          </p:cNvPr>
          <p:cNvGrpSpPr/>
          <p:nvPr/>
        </p:nvGrpSpPr>
        <p:grpSpPr>
          <a:xfrm>
            <a:off x="10047960" y="0"/>
            <a:ext cx="2144040" cy="6583680"/>
            <a:chOff x="9394521" y="1"/>
            <a:chExt cx="2797479" cy="6563639"/>
          </a:xfrm>
        </p:grpSpPr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B01A98C0-240A-410F-8EF8-A34A2F0FC65B}"/>
                </a:ext>
              </a:extLst>
            </p:cNvPr>
            <p:cNvSpPr/>
            <p:nvPr/>
          </p:nvSpPr>
          <p:spPr>
            <a:xfrm>
              <a:off x="9394521" y="1"/>
              <a:ext cx="2135687" cy="6563638"/>
            </a:xfrm>
            <a:prstGeom prst="parallelogram">
              <a:avLst>
                <a:gd name="adj" fmla="val 5461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8" name="Flowchart: Manual Input 7">
              <a:extLst>
                <a:ext uri="{FF2B5EF4-FFF2-40B4-BE49-F238E27FC236}">
                  <a16:creationId xmlns:a16="http://schemas.microsoft.com/office/drawing/2014/main" id="{0F7C1B35-621D-4DDB-B1FF-04FF88F479BF}"/>
                </a:ext>
              </a:extLst>
            </p:cNvPr>
            <p:cNvSpPr/>
            <p:nvPr/>
          </p:nvSpPr>
          <p:spPr>
            <a:xfrm rot="16200000" flipH="1">
              <a:off x="8266136" y="2637775"/>
              <a:ext cx="6563638" cy="1288091"/>
            </a:xfrm>
            <a:prstGeom prst="flowChartManualInpu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F4267F6-C4C0-4883-9696-C71FCD8FA79E}"/>
                </a:ext>
              </a:extLst>
            </p:cNvPr>
            <p:cNvSpPr/>
            <p:nvPr/>
          </p:nvSpPr>
          <p:spPr>
            <a:xfrm>
              <a:off x="10290132" y="2317315"/>
              <a:ext cx="1096027" cy="424632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56A692F-8D21-40EE-A025-4D83409D2D00}"/>
              </a:ext>
            </a:extLst>
          </p:cNvPr>
          <p:cNvSpPr txBox="1"/>
          <p:nvPr/>
        </p:nvSpPr>
        <p:spPr>
          <a:xfrm>
            <a:off x="475989" y="421409"/>
            <a:ext cx="5620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Agenda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26590BD-7EAE-44D6-B3B9-D9CC790E52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5989" y="1271391"/>
            <a:ext cx="9037637" cy="877163"/>
          </a:xfrm>
        </p:spPr>
        <p:txBody>
          <a:bodyPr>
            <a:spAutoFit/>
          </a:bodyPr>
          <a:lstStyle>
            <a:lvl1pPr marL="344488" indent="-344488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1">
                  <a:lumMod val="50000"/>
                </a:schemeClr>
              </a:buClr>
              <a:buSzPct val="66000"/>
              <a:buFont typeface="Century Gothic" panose="020B0502020202020204" pitchFamily="34" charset="0"/>
              <a:buChar char="►"/>
              <a:defRPr sz="1800"/>
            </a:lvl1pPr>
          </a:lstStyle>
          <a:p>
            <a:pPr lvl="0"/>
            <a:r>
              <a:rPr lang="en-US" dirty="0"/>
              <a:t>Click to edit agenda item</a:t>
            </a:r>
          </a:p>
          <a:p>
            <a:pPr lvl="0"/>
            <a:r>
              <a:rPr lang="en-US" dirty="0"/>
              <a:t>Click to edit agenda item 2</a:t>
            </a:r>
          </a:p>
        </p:txBody>
      </p:sp>
    </p:spTree>
    <p:extLst>
      <p:ext uri="{BB962C8B-B14F-4D97-AF65-F5344CB8AC3E}">
        <p14:creationId xmlns:p14="http://schemas.microsoft.com/office/powerpoint/2010/main" val="200252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B41F2-DF7C-4448-B80C-0381C9933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213416"/>
            <a:ext cx="11247119" cy="835025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B03B1A-5E10-4221-B2BD-5189731DF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680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D0CF1-F7F2-493D-A893-95525A6F8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88E77-A028-4D21-98BD-12AC249486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3E7C9F-AD96-4922-B5D7-D886972AEE9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5" y="1302468"/>
            <a:ext cx="11245850" cy="500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81153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0BADD0-05B0-4DFE-BD45-1DB46766A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F3A74E-00B0-4758-B08A-BF1914A7BD6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3DF630F-91C5-4F1D-B645-7A297308158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3" y="1420813"/>
            <a:ext cx="5394960" cy="4716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BE63A29A-BE61-489D-9DF4-FFB6C585274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323967" y="1420813"/>
            <a:ext cx="5394960" cy="4716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9840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6E52D-DB3D-4C75-A558-45D010C02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303CA-4BFE-4604-8B4B-4A92C325F9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1FC1CB-DD8D-4050-A739-17E769C1C72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3074" y="1446408"/>
            <a:ext cx="3566160" cy="4663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08776CA6-3AA6-4392-BB39-98F6A91AC0A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312920" y="1446408"/>
            <a:ext cx="3566160" cy="4663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7CD0A28D-6305-4052-B56B-D8F37C69E2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52766" y="1446408"/>
            <a:ext cx="3566160" cy="46634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2541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ta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A8ECF1-9CE8-4A48-9601-9F218979C6D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4152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1F77483-CCC0-452E-A4E3-DC0BA1A7409A}"/>
              </a:ext>
            </a:extLst>
          </p:cNvPr>
          <p:cNvSpPr/>
          <p:nvPr/>
        </p:nvSpPr>
        <p:spPr>
          <a:xfrm>
            <a:off x="0" y="0"/>
            <a:ext cx="12192000" cy="68141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A84262-B560-4B28-A8F7-E5133C4685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47182"/>
            <a:ext cx="12192000" cy="1163637"/>
          </a:xfrm>
        </p:spPr>
        <p:txBody>
          <a:bodyPr anchor="ctr">
            <a:noAutofit/>
          </a:bodyPr>
          <a:lstStyle>
            <a:lvl1pPr marL="0" indent="0" algn="ctr">
              <a:buNone/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18821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E36EA07E-C5D8-65CA-4D09-0202BAE361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3489000"/>
            <a:ext cx="12192000" cy="336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0064825-8684-20EB-F80B-4E9E119C67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62" b="22298"/>
          <a:stretch/>
        </p:blipFill>
        <p:spPr>
          <a:xfrm>
            <a:off x="0" y="-1"/>
            <a:ext cx="12191996" cy="3429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BA8AFC-D188-2747-52C3-6BBC738233EC}"/>
              </a:ext>
            </a:extLst>
          </p:cNvPr>
          <p:cNvSpPr txBox="1"/>
          <p:nvPr userDrawn="1"/>
        </p:nvSpPr>
        <p:spPr>
          <a:xfrm>
            <a:off x="364695" y="2329854"/>
            <a:ext cx="37476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spc="300" dirty="0">
                <a:solidFill>
                  <a:schemeClr val="bg1"/>
                </a:solidFill>
              </a:rPr>
              <a:t>Contac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4A9524F-AC46-B46F-91FF-2BF47CC593B5}"/>
              </a:ext>
            </a:extLst>
          </p:cNvPr>
          <p:cNvGrpSpPr/>
          <p:nvPr userDrawn="1"/>
        </p:nvGrpSpPr>
        <p:grpSpPr>
          <a:xfrm>
            <a:off x="540328" y="4581830"/>
            <a:ext cx="3726874" cy="1183339"/>
            <a:chOff x="692728" y="5117340"/>
            <a:chExt cx="3726874" cy="118333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2DCC0B6-3949-9D97-514A-5A80A04AC4C7}"/>
                </a:ext>
              </a:extLst>
            </p:cNvPr>
            <p:cNvGrpSpPr/>
            <p:nvPr/>
          </p:nvGrpSpPr>
          <p:grpSpPr>
            <a:xfrm>
              <a:off x="692728" y="5117340"/>
              <a:ext cx="3726874" cy="1183339"/>
              <a:chOff x="7751617" y="1958504"/>
              <a:chExt cx="3726874" cy="1183339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3421FA31-72E9-85E9-01AA-2C3980240341}"/>
                  </a:ext>
                </a:extLst>
              </p:cNvPr>
              <p:cNvSpPr/>
              <p:nvPr/>
            </p:nvSpPr>
            <p:spPr>
              <a:xfrm>
                <a:off x="7751617" y="2066599"/>
                <a:ext cx="936745" cy="93674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Contact</a:t>
                </a:r>
              </a:p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pic</a:t>
                </a: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54FD66A7-C671-1B00-08D1-E6D75254C5F4}"/>
                  </a:ext>
                </a:extLst>
              </p:cNvPr>
              <p:cNvGrpSpPr/>
              <p:nvPr/>
            </p:nvGrpSpPr>
            <p:grpSpPr>
              <a:xfrm>
                <a:off x="8818418" y="1958504"/>
                <a:ext cx="2660073" cy="1183339"/>
                <a:chOff x="8818418" y="2102451"/>
                <a:chExt cx="2660073" cy="1183339"/>
              </a:xfrm>
            </p:grpSpPr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EEF09ABD-F061-4DAE-21A1-AE40CD8A230C}"/>
                    </a:ext>
                  </a:extLst>
                </p:cNvPr>
                <p:cNvSpPr txBox="1"/>
                <p:nvPr/>
              </p:nvSpPr>
              <p:spPr>
                <a:xfrm>
                  <a:off x="8818418" y="2102451"/>
                  <a:ext cx="2660073" cy="3671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dirty="0"/>
                    <a:t>Name</a:t>
                  </a:r>
                  <a:r>
                    <a:rPr lang="en-US" dirty="0">
                      <a:solidFill>
                        <a:schemeClr val="bg1"/>
                      </a:solidFill>
                    </a:rPr>
                    <a:t> </a:t>
                  </a:r>
                  <a:r>
                    <a:rPr lang="en-US" dirty="0" err="1">
                      <a:solidFill>
                        <a:schemeClr val="accent4"/>
                      </a:solidFill>
                    </a:rPr>
                    <a:t>Lastname</a:t>
                  </a:r>
                  <a:endParaRPr lang="en-US" dirty="0">
                    <a:solidFill>
                      <a:schemeClr val="accent4"/>
                    </a:solidFill>
                  </a:endParaRP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79103128-E2E5-6740-D4F8-7ACC5FA6C97B}"/>
                    </a:ext>
                  </a:extLst>
                </p:cNvPr>
                <p:cNvSpPr txBox="1"/>
                <p:nvPr/>
              </p:nvSpPr>
              <p:spPr>
                <a:xfrm>
                  <a:off x="8818418" y="2774782"/>
                  <a:ext cx="266007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2">
                          <a:lumMod val="50000"/>
                        </a:schemeClr>
                      </a:solidFill>
                    </a:rPr>
                    <a:t>email@innosight.com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8F04CEEC-3E04-51CA-2643-82AC627CE03F}"/>
                    </a:ext>
                  </a:extLst>
                </p:cNvPr>
                <p:cNvSpPr txBox="1"/>
                <p:nvPr/>
              </p:nvSpPr>
              <p:spPr>
                <a:xfrm>
                  <a:off x="8818418" y="3008791"/>
                  <a:ext cx="266007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2">
                          <a:lumMod val="50000"/>
                        </a:schemeClr>
                      </a:solidFill>
                    </a:rPr>
                    <a:t>123.456.7890</a:t>
                  </a: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E527960D-C7C5-26F8-DD7C-0257ABD915FF}"/>
                    </a:ext>
                  </a:extLst>
                </p:cNvPr>
                <p:cNvSpPr txBox="1"/>
                <p:nvPr/>
              </p:nvSpPr>
              <p:spPr>
                <a:xfrm>
                  <a:off x="8818418" y="2425049"/>
                  <a:ext cx="2660073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>
                          <a:lumMod val="50000"/>
                        </a:schemeClr>
                      </a:solidFill>
                    </a:rPr>
                    <a:t>Title</a:t>
                  </a:r>
                </a:p>
              </p:txBody>
            </p:sp>
          </p:grpSp>
        </p:grp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484F6B72-40A9-A28E-F511-29C96770BB61}"/>
                </a:ext>
              </a:extLst>
            </p:cNvPr>
            <p:cNvCxnSpPr/>
            <p:nvPr/>
          </p:nvCxnSpPr>
          <p:spPr>
            <a:xfrm>
              <a:off x="1835727" y="5759267"/>
              <a:ext cx="1731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868023E-43E0-19D0-2214-085506557D10}"/>
              </a:ext>
            </a:extLst>
          </p:cNvPr>
          <p:cNvGrpSpPr/>
          <p:nvPr userDrawn="1"/>
        </p:nvGrpSpPr>
        <p:grpSpPr>
          <a:xfrm>
            <a:off x="4322190" y="4581830"/>
            <a:ext cx="3726874" cy="1183339"/>
            <a:chOff x="692728" y="5117340"/>
            <a:chExt cx="3726874" cy="118333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455B6B6-34ED-67F5-A36E-1F3011D0E69A}"/>
                </a:ext>
              </a:extLst>
            </p:cNvPr>
            <p:cNvGrpSpPr/>
            <p:nvPr/>
          </p:nvGrpSpPr>
          <p:grpSpPr>
            <a:xfrm>
              <a:off x="692728" y="5117340"/>
              <a:ext cx="3726874" cy="1183339"/>
              <a:chOff x="7751617" y="1958504"/>
              <a:chExt cx="3726874" cy="1183339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282831B9-A69D-46D5-B097-400A1EDBCEC9}"/>
                  </a:ext>
                </a:extLst>
              </p:cNvPr>
              <p:cNvSpPr/>
              <p:nvPr/>
            </p:nvSpPr>
            <p:spPr>
              <a:xfrm>
                <a:off x="7751617" y="2066599"/>
                <a:ext cx="936745" cy="93674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Contact</a:t>
                </a:r>
              </a:p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pic</a:t>
                </a: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03DEBE83-98EA-7414-3150-94C226A23740}"/>
                  </a:ext>
                </a:extLst>
              </p:cNvPr>
              <p:cNvGrpSpPr/>
              <p:nvPr/>
            </p:nvGrpSpPr>
            <p:grpSpPr>
              <a:xfrm>
                <a:off x="8818418" y="1958504"/>
                <a:ext cx="2660073" cy="1183339"/>
                <a:chOff x="8818418" y="2102451"/>
                <a:chExt cx="2660073" cy="1183339"/>
              </a:xfrm>
            </p:grpSpPr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9422D3B8-0754-79BC-607C-A38797389208}"/>
                    </a:ext>
                  </a:extLst>
                </p:cNvPr>
                <p:cNvSpPr txBox="1"/>
                <p:nvPr/>
              </p:nvSpPr>
              <p:spPr>
                <a:xfrm>
                  <a:off x="8818418" y="2102451"/>
                  <a:ext cx="2660073" cy="3671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dirty="0"/>
                    <a:t>Name</a:t>
                  </a:r>
                  <a:r>
                    <a:rPr lang="en-US" dirty="0">
                      <a:solidFill>
                        <a:schemeClr val="bg1"/>
                      </a:solidFill>
                    </a:rPr>
                    <a:t> </a:t>
                  </a:r>
                  <a:r>
                    <a:rPr lang="en-US" dirty="0" err="1">
                      <a:solidFill>
                        <a:schemeClr val="accent4"/>
                      </a:solidFill>
                    </a:rPr>
                    <a:t>Lastname</a:t>
                  </a:r>
                  <a:endParaRPr lang="en-US" dirty="0">
                    <a:solidFill>
                      <a:schemeClr val="accent4"/>
                    </a:solidFill>
                  </a:endParaRPr>
                </a:p>
              </p:txBody>
            </p:sp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id="{AD1B1083-8617-449E-D8E3-BCA03576A275}"/>
                    </a:ext>
                  </a:extLst>
                </p:cNvPr>
                <p:cNvSpPr txBox="1"/>
                <p:nvPr/>
              </p:nvSpPr>
              <p:spPr>
                <a:xfrm>
                  <a:off x="8818418" y="2774782"/>
                  <a:ext cx="266007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2">
                          <a:lumMod val="50000"/>
                        </a:schemeClr>
                      </a:solidFill>
                    </a:rPr>
                    <a:t>email@innosight.com</a:t>
                  </a: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id="{CDA38A57-C693-97B3-B8A2-676DBD88EEEF}"/>
                    </a:ext>
                  </a:extLst>
                </p:cNvPr>
                <p:cNvSpPr txBox="1"/>
                <p:nvPr/>
              </p:nvSpPr>
              <p:spPr>
                <a:xfrm>
                  <a:off x="8818418" y="3008791"/>
                  <a:ext cx="266007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2">
                          <a:lumMod val="50000"/>
                        </a:schemeClr>
                      </a:solidFill>
                    </a:rPr>
                    <a:t>123.456.7890</a:t>
                  </a:r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71DD3A5D-C235-A93D-40A9-598F70D82C10}"/>
                    </a:ext>
                  </a:extLst>
                </p:cNvPr>
                <p:cNvSpPr txBox="1"/>
                <p:nvPr/>
              </p:nvSpPr>
              <p:spPr>
                <a:xfrm>
                  <a:off x="8818418" y="2425049"/>
                  <a:ext cx="2660073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>
                          <a:lumMod val="50000"/>
                        </a:schemeClr>
                      </a:solidFill>
                    </a:rPr>
                    <a:t>Title</a:t>
                  </a:r>
                </a:p>
              </p:txBody>
            </p:sp>
          </p:grpSp>
        </p:grp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67E90DE-4B4A-DD6B-27A4-4C53D96C12FF}"/>
                </a:ext>
              </a:extLst>
            </p:cNvPr>
            <p:cNvCxnSpPr/>
            <p:nvPr/>
          </p:nvCxnSpPr>
          <p:spPr>
            <a:xfrm>
              <a:off x="1835727" y="5759267"/>
              <a:ext cx="1731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DC36B62-18F8-1716-E4CD-DBE440B348DD}"/>
              </a:ext>
            </a:extLst>
          </p:cNvPr>
          <p:cNvGrpSpPr/>
          <p:nvPr userDrawn="1"/>
        </p:nvGrpSpPr>
        <p:grpSpPr>
          <a:xfrm>
            <a:off x="8104051" y="4581830"/>
            <a:ext cx="3726874" cy="1183339"/>
            <a:chOff x="692728" y="5117340"/>
            <a:chExt cx="3726874" cy="118333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90BE8F4-F8E2-5205-11A9-58BFB8496DB9}"/>
                </a:ext>
              </a:extLst>
            </p:cNvPr>
            <p:cNvGrpSpPr/>
            <p:nvPr/>
          </p:nvGrpSpPr>
          <p:grpSpPr>
            <a:xfrm>
              <a:off x="692728" y="5117340"/>
              <a:ext cx="3726874" cy="1183339"/>
              <a:chOff x="7751617" y="1958504"/>
              <a:chExt cx="3726874" cy="1183339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960A1C2E-7576-10EF-3875-B7FBB48C9A8E}"/>
                  </a:ext>
                </a:extLst>
              </p:cNvPr>
              <p:cNvSpPr/>
              <p:nvPr/>
            </p:nvSpPr>
            <p:spPr>
              <a:xfrm>
                <a:off x="7751617" y="2066599"/>
                <a:ext cx="936745" cy="936745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Contact</a:t>
                </a:r>
              </a:p>
              <a:p>
                <a:pPr algn="ctr"/>
                <a:r>
                  <a:rPr lang="en-US" sz="1100" dirty="0">
                    <a:solidFill>
                      <a:schemeClr val="tx1"/>
                    </a:solidFill>
                  </a:rPr>
                  <a:t>pic</a:t>
                </a:r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EB4DF4C9-D923-D2F1-92D3-7DB783E83EEA}"/>
                  </a:ext>
                </a:extLst>
              </p:cNvPr>
              <p:cNvGrpSpPr/>
              <p:nvPr/>
            </p:nvGrpSpPr>
            <p:grpSpPr>
              <a:xfrm>
                <a:off x="8818418" y="1958504"/>
                <a:ext cx="2660073" cy="1183339"/>
                <a:chOff x="8818418" y="2102451"/>
                <a:chExt cx="2660073" cy="1183339"/>
              </a:xfrm>
            </p:grpSpPr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E282F949-9B66-8350-BCD7-72CBA96E72A7}"/>
                    </a:ext>
                  </a:extLst>
                </p:cNvPr>
                <p:cNvSpPr txBox="1"/>
                <p:nvPr/>
              </p:nvSpPr>
              <p:spPr>
                <a:xfrm>
                  <a:off x="8818418" y="2102451"/>
                  <a:ext cx="2660073" cy="36714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dirty="0"/>
                    <a:t>Name</a:t>
                  </a:r>
                  <a:r>
                    <a:rPr lang="en-US" dirty="0">
                      <a:solidFill>
                        <a:schemeClr val="bg1"/>
                      </a:solidFill>
                    </a:rPr>
                    <a:t> </a:t>
                  </a:r>
                  <a:r>
                    <a:rPr lang="en-US" dirty="0" err="1">
                      <a:solidFill>
                        <a:schemeClr val="accent4"/>
                      </a:solidFill>
                    </a:rPr>
                    <a:t>Lastname</a:t>
                  </a:r>
                  <a:endParaRPr lang="en-US" dirty="0">
                    <a:solidFill>
                      <a:schemeClr val="accent4"/>
                    </a:solidFill>
                  </a:endParaRP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FD523A51-248A-8C03-8696-2BA10265517E}"/>
                    </a:ext>
                  </a:extLst>
                </p:cNvPr>
                <p:cNvSpPr txBox="1"/>
                <p:nvPr/>
              </p:nvSpPr>
              <p:spPr>
                <a:xfrm>
                  <a:off x="8818418" y="2774782"/>
                  <a:ext cx="266007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2">
                          <a:lumMod val="50000"/>
                        </a:schemeClr>
                      </a:solidFill>
                    </a:rPr>
                    <a:t>email@innosight.com</a:t>
                  </a: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9495E1BB-F821-6C6E-21A8-829D9FD00A1F}"/>
                    </a:ext>
                  </a:extLst>
                </p:cNvPr>
                <p:cNvSpPr txBox="1"/>
                <p:nvPr/>
              </p:nvSpPr>
              <p:spPr>
                <a:xfrm>
                  <a:off x="8818418" y="3008791"/>
                  <a:ext cx="2660073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>
                      <a:solidFill>
                        <a:schemeClr val="bg2">
                          <a:lumMod val="50000"/>
                        </a:schemeClr>
                      </a:solidFill>
                    </a:rPr>
                    <a:t>123.456.7890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2E2D5B81-3A0E-398F-6692-FA3AD65C38E6}"/>
                    </a:ext>
                  </a:extLst>
                </p:cNvPr>
                <p:cNvSpPr txBox="1"/>
                <p:nvPr/>
              </p:nvSpPr>
              <p:spPr>
                <a:xfrm>
                  <a:off x="8818418" y="2425049"/>
                  <a:ext cx="2660073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bg2">
                          <a:lumMod val="50000"/>
                        </a:schemeClr>
                      </a:solidFill>
                    </a:rPr>
                    <a:t>Title</a:t>
                  </a:r>
                </a:p>
              </p:txBody>
            </p:sp>
          </p:grpSp>
        </p:grp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5D624B9-9D30-D173-9791-69B210F93B5E}"/>
                </a:ext>
              </a:extLst>
            </p:cNvPr>
            <p:cNvCxnSpPr/>
            <p:nvPr/>
          </p:nvCxnSpPr>
          <p:spPr>
            <a:xfrm>
              <a:off x="1835727" y="5759267"/>
              <a:ext cx="1731818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37E85D83-9E79-5EBD-0FC4-5AFFF3B7B3F9}"/>
              </a:ext>
            </a:extLst>
          </p:cNvPr>
          <p:cNvSpPr/>
          <p:nvPr userDrawn="1"/>
        </p:nvSpPr>
        <p:spPr>
          <a:xfrm>
            <a:off x="0" y="3429238"/>
            <a:ext cx="12192000" cy="5976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99144E-9579-2B8A-2730-CB5E81F41B8A}"/>
              </a:ext>
            </a:extLst>
          </p:cNvPr>
          <p:cNvGrpSpPr/>
          <p:nvPr userDrawn="1"/>
        </p:nvGrpSpPr>
        <p:grpSpPr>
          <a:xfrm>
            <a:off x="6012873" y="2880827"/>
            <a:ext cx="5889324" cy="1196239"/>
            <a:chOff x="470172" y="4040644"/>
            <a:chExt cx="5889324" cy="1196239"/>
          </a:xfrm>
        </p:grpSpPr>
        <p:pic>
          <p:nvPicPr>
            <p:cNvPr id="56" name="Picture 55" descr="A large building with a clock tower and a river&#10;&#10;Description automatically generated">
              <a:extLst>
                <a:ext uri="{FF2B5EF4-FFF2-40B4-BE49-F238E27FC236}">
                  <a16:creationId xmlns:a16="http://schemas.microsoft.com/office/drawing/2014/main" id="{B014F771-2C08-803A-AAAD-01794EBE32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7416" y="4040644"/>
              <a:ext cx="1307592" cy="868680"/>
            </a:xfrm>
            <a:prstGeom prst="rect">
              <a:avLst/>
            </a:prstGeom>
          </p:spPr>
        </p:pic>
        <p:pic>
          <p:nvPicPr>
            <p:cNvPr id="57" name="Picture 56" descr="A statue of liberty in front of a city&#10;&#10;Description automatically generated">
              <a:extLst>
                <a:ext uri="{FF2B5EF4-FFF2-40B4-BE49-F238E27FC236}">
                  <a16:creationId xmlns:a16="http://schemas.microsoft.com/office/drawing/2014/main" id="{A483B27B-AAD1-9822-CA56-72A78053F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4660" y="4040644"/>
              <a:ext cx="1307592" cy="868680"/>
            </a:xfrm>
            <a:prstGeom prst="rect">
              <a:avLst/>
            </a:prstGeom>
          </p:spPr>
        </p:pic>
        <p:pic>
          <p:nvPicPr>
            <p:cNvPr id="58" name="Picture 57" descr="A city with a body of water&#10;&#10;Description automatically generated">
              <a:extLst>
                <a:ext uri="{FF2B5EF4-FFF2-40B4-BE49-F238E27FC236}">
                  <a16:creationId xmlns:a16="http://schemas.microsoft.com/office/drawing/2014/main" id="{D6349948-FEC4-CDF7-D75F-3669885D50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1904" y="4040644"/>
              <a:ext cx="1307592" cy="868680"/>
            </a:xfrm>
            <a:prstGeom prst="rect">
              <a:avLst/>
            </a:prstGeom>
          </p:spPr>
        </p:pic>
        <p:pic>
          <p:nvPicPr>
            <p:cNvPr id="59" name="Picture 58" descr="A city skyline with a body of water&#10;&#10;Description automatically generated">
              <a:extLst>
                <a:ext uri="{FF2B5EF4-FFF2-40B4-BE49-F238E27FC236}">
                  <a16:creationId xmlns:a16="http://schemas.microsoft.com/office/drawing/2014/main" id="{29FCA57A-1592-D006-FEB9-DED990744B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172" y="4040644"/>
              <a:ext cx="1307592" cy="868680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BCE1ED30-9D4D-ADA4-9D6A-F678B8BB9A33}"/>
                </a:ext>
              </a:extLst>
            </p:cNvPr>
            <p:cNvGrpSpPr/>
            <p:nvPr/>
          </p:nvGrpSpPr>
          <p:grpSpPr>
            <a:xfrm>
              <a:off x="471053" y="4961333"/>
              <a:ext cx="5888184" cy="275550"/>
              <a:chOff x="471053" y="4961333"/>
              <a:chExt cx="5888184" cy="275550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AD22D2A5-0108-6250-3482-D875EC119FCF}"/>
                  </a:ext>
                </a:extLst>
              </p:cNvPr>
              <p:cNvSpPr/>
              <p:nvPr/>
            </p:nvSpPr>
            <p:spPr>
              <a:xfrm>
                <a:off x="471053" y="4961333"/>
                <a:ext cx="1307073" cy="2755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200" spc="300" dirty="0">
                    <a:solidFill>
                      <a:schemeClr val="accent4"/>
                    </a:solidFill>
                  </a:rPr>
                  <a:t>BOSTON</a:t>
                </a: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D37AEAE7-34AB-9DD2-2615-A752C82E8406}"/>
                  </a:ext>
                </a:extLst>
              </p:cNvPr>
              <p:cNvSpPr/>
              <p:nvPr/>
            </p:nvSpPr>
            <p:spPr>
              <a:xfrm>
                <a:off x="1998090" y="4961333"/>
                <a:ext cx="1307073" cy="2755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200" spc="300" dirty="0">
                    <a:solidFill>
                      <a:schemeClr val="accent4"/>
                    </a:solidFill>
                  </a:rPr>
                  <a:t>LONDON</a:t>
                </a: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7EDC7F9A-66A2-27D1-AFE3-ABEF9FAF5020}"/>
                  </a:ext>
                </a:extLst>
              </p:cNvPr>
              <p:cNvSpPr/>
              <p:nvPr/>
            </p:nvSpPr>
            <p:spPr>
              <a:xfrm>
                <a:off x="3525128" y="4961333"/>
                <a:ext cx="1307073" cy="2755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200" spc="300" dirty="0">
                    <a:solidFill>
                      <a:schemeClr val="accent4"/>
                    </a:solidFill>
                  </a:rPr>
                  <a:t>NEW YORK</a:t>
                </a:r>
              </a:p>
            </p:txBody>
          </p:sp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57753A02-0E4A-1CCB-5115-EFCE37D5C461}"/>
                  </a:ext>
                </a:extLst>
              </p:cNvPr>
              <p:cNvSpPr/>
              <p:nvPr/>
            </p:nvSpPr>
            <p:spPr>
              <a:xfrm>
                <a:off x="5052164" y="4961333"/>
                <a:ext cx="1307073" cy="27555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US" sz="1200" spc="300" dirty="0">
                    <a:solidFill>
                      <a:schemeClr val="accent4"/>
                    </a:solidFill>
                  </a:rPr>
                  <a:t>ZURICH</a:t>
                </a:r>
              </a:p>
            </p:txBody>
          </p:sp>
        </p:grpSp>
      </p:grpSp>
      <p:pic>
        <p:nvPicPr>
          <p:cNvPr id="65" name="Picture 64">
            <a:extLst>
              <a:ext uri="{FF2B5EF4-FFF2-40B4-BE49-F238E27FC236}">
                <a16:creationId xmlns:a16="http://schemas.microsoft.com/office/drawing/2014/main" id="{8DE20512-339D-42C3-AEEF-0A60691649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16836" y="6283410"/>
            <a:ext cx="1880928" cy="344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8661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591EB3D-46FC-4DD8-94FC-55CBD2C95FB5}"/>
              </a:ext>
            </a:extLst>
          </p:cNvPr>
          <p:cNvSpPr/>
          <p:nvPr/>
        </p:nvSpPr>
        <p:spPr>
          <a:xfrm>
            <a:off x="0" y="6583680"/>
            <a:ext cx="12192000" cy="2743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BFDEE6-5F58-456F-B97A-A32C62FA0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213416"/>
            <a:ext cx="11247119" cy="835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74A7DC-233F-4C25-A7A4-9B7C19F514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441" y="1389206"/>
            <a:ext cx="11247118" cy="4803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BD424-5D2C-46E9-87D6-73C1DD1E31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9558" y="6616799"/>
            <a:ext cx="396241" cy="2224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A81FF6FF-5594-4918-88FC-3068253793F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28570E-A393-4C28-A567-D8D012605101}"/>
              </a:ext>
            </a:extLst>
          </p:cNvPr>
          <p:cNvCxnSpPr>
            <a:cxnSpLocks/>
          </p:cNvCxnSpPr>
          <p:nvPr/>
        </p:nvCxnSpPr>
        <p:spPr>
          <a:xfrm>
            <a:off x="472440" y="1092694"/>
            <a:ext cx="1124712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D08A8D48-38FD-4A3E-A5B6-38E11F961766}"/>
              </a:ext>
            </a:extLst>
          </p:cNvPr>
          <p:cNvSpPr/>
          <p:nvPr/>
        </p:nvSpPr>
        <p:spPr>
          <a:xfrm>
            <a:off x="8958006" y="6612611"/>
            <a:ext cx="2872902" cy="230832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© 2024 Innosight Consulting, LLC and/or its affiliates</a:t>
            </a:r>
          </a:p>
        </p:txBody>
      </p:sp>
    </p:spTree>
    <p:extLst>
      <p:ext uri="{BB962C8B-B14F-4D97-AF65-F5344CB8AC3E}">
        <p14:creationId xmlns:p14="http://schemas.microsoft.com/office/powerpoint/2010/main" val="905782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6" r:id="rId4"/>
    <p:sldLayoutId id="2147483664" r:id="rId5"/>
    <p:sldLayoutId id="2147483665" r:id="rId6"/>
    <p:sldLayoutId id="2147483660" r:id="rId7"/>
    <p:sldLayoutId id="2147483662" r:id="rId8"/>
    <p:sldLayoutId id="2147483661" r:id="rId9"/>
    <p:sldLayoutId id="2147483674" r:id="rId10"/>
    <p:sldLayoutId id="214748367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1999" cy="6857999"/>
          </a:xfrm>
          <a:prstGeom prst="rect">
            <a:avLst/>
          </a:prstGeom>
          <a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0631" y="948852"/>
            <a:ext cx="10870737" cy="939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0" b="1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38470" y="1273111"/>
            <a:ext cx="11273155" cy="15417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9208769" y="6610080"/>
            <a:ext cx="2863850" cy="212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>
                <a:solidFill>
                  <a:srgbClr val="FFFFFF"/>
                </a:solidFill>
              </a:rPr>
              <a:t>© </a:t>
            </a:r>
            <a:r>
              <a:rPr spc="-5">
                <a:solidFill>
                  <a:srgbClr val="FFFFFF"/>
                </a:solidFill>
              </a:rPr>
              <a:t>Copyright </a:t>
            </a:r>
            <a:r>
              <a:rPr>
                <a:solidFill>
                  <a:srgbClr val="FFFFFF"/>
                </a:solidFill>
              </a:rPr>
              <a:t>2020, Innosight</a:t>
            </a:r>
            <a:r>
              <a:rPr spc="-30">
                <a:solidFill>
                  <a:srgbClr val="FFFFFF"/>
                </a:solidFill>
              </a:rPr>
              <a:t> </a:t>
            </a:r>
            <a:r>
              <a:rPr>
                <a:solidFill>
                  <a:srgbClr val="FFFFFF"/>
                </a:solidFill>
              </a:rPr>
              <a:t>Consulting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985079" y="6610080"/>
            <a:ext cx="3152775" cy="22288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pPr marL="12700">
              <a:lnSpc>
                <a:spcPct val="100000"/>
              </a:lnSpc>
              <a:spcBef>
                <a:spcPts val="275"/>
              </a:spcBef>
            </a:pPr>
            <a:r>
              <a:rPr spc="-5"/>
              <a:t>© </a:t>
            </a:r>
            <a:r>
              <a:rPr spc="-185"/>
              <a:t>202</a:t>
            </a:r>
            <a:r>
              <a:rPr sz="1800" spc="-277" baseline="6944"/>
              <a:t>©</a:t>
            </a:r>
            <a:r>
              <a:rPr sz="800" spc="-185"/>
              <a:t>0 </a:t>
            </a:r>
            <a:r>
              <a:rPr sz="800" spc="-240"/>
              <a:t>In</a:t>
            </a:r>
            <a:r>
              <a:rPr sz="1800" spc="-359" baseline="6944"/>
              <a:t>C</a:t>
            </a:r>
            <a:r>
              <a:rPr sz="800" spc="-240"/>
              <a:t>no</a:t>
            </a:r>
            <a:r>
              <a:rPr sz="1800" spc="-359" baseline="6944"/>
              <a:t>o</a:t>
            </a:r>
            <a:r>
              <a:rPr sz="800" spc="-240"/>
              <a:t>s</a:t>
            </a:r>
            <a:r>
              <a:rPr sz="1800" spc="-359" baseline="6944"/>
              <a:t>p</a:t>
            </a:r>
            <a:r>
              <a:rPr sz="800" spc="-240"/>
              <a:t>igh</a:t>
            </a:r>
            <a:r>
              <a:rPr sz="1800" spc="-359" baseline="6944"/>
              <a:t>y</a:t>
            </a:r>
            <a:r>
              <a:rPr sz="800" spc="-240"/>
              <a:t>t</a:t>
            </a:r>
            <a:r>
              <a:rPr sz="1800" spc="-359" baseline="6944"/>
              <a:t>r</a:t>
            </a:r>
            <a:r>
              <a:rPr sz="800" spc="-240"/>
              <a:t>C</a:t>
            </a:r>
            <a:r>
              <a:rPr sz="1800" spc="-359" baseline="6944"/>
              <a:t>ig</a:t>
            </a:r>
            <a:r>
              <a:rPr sz="800" spc="-240"/>
              <a:t>o</a:t>
            </a:r>
            <a:r>
              <a:rPr sz="1800" spc="-359" baseline="6944"/>
              <a:t>h</a:t>
            </a:r>
            <a:r>
              <a:rPr sz="800" spc="-240"/>
              <a:t>ns</a:t>
            </a:r>
            <a:r>
              <a:rPr sz="1800" spc="-359" baseline="6944"/>
              <a:t>t</a:t>
            </a:r>
            <a:r>
              <a:rPr sz="800" spc="-240"/>
              <a:t>ult</a:t>
            </a:r>
            <a:r>
              <a:rPr sz="1800" spc="-359" baseline="6944"/>
              <a:t>2</a:t>
            </a:r>
            <a:r>
              <a:rPr sz="800" spc="-240"/>
              <a:t>in</a:t>
            </a:r>
            <a:r>
              <a:rPr sz="1800" spc="-359" baseline="6944"/>
              <a:t>0</a:t>
            </a:r>
            <a:r>
              <a:rPr sz="800" spc="-240"/>
              <a:t>g</a:t>
            </a:r>
            <a:r>
              <a:rPr sz="1800" spc="-359" baseline="6944"/>
              <a:t>2</a:t>
            </a:r>
            <a:r>
              <a:rPr sz="800" spc="-240"/>
              <a:t>,</a:t>
            </a:r>
            <a:r>
              <a:rPr sz="800" spc="25"/>
              <a:t> </a:t>
            </a:r>
            <a:r>
              <a:rPr sz="800" spc="-260"/>
              <a:t>L</a:t>
            </a:r>
            <a:r>
              <a:rPr sz="1800" spc="-390" baseline="6944"/>
              <a:t>0</a:t>
            </a:r>
            <a:r>
              <a:rPr sz="800" spc="-260"/>
              <a:t>LC</a:t>
            </a:r>
            <a:r>
              <a:rPr sz="1800" spc="-390" baseline="6944"/>
              <a:t>, I</a:t>
            </a:r>
            <a:r>
              <a:rPr sz="800" spc="-260"/>
              <a:t>a</a:t>
            </a:r>
            <a:r>
              <a:rPr sz="1800" spc="-390" baseline="6944"/>
              <a:t>n</a:t>
            </a:r>
            <a:r>
              <a:rPr sz="800" spc="-260"/>
              <a:t>n</a:t>
            </a:r>
            <a:r>
              <a:rPr sz="1800" spc="-390" baseline="6944"/>
              <a:t>n</a:t>
            </a:r>
            <a:r>
              <a:rPr sz="800" spc="-260"/>
              <a:t>d</a:t>
            </a:r>
            <a:r>
              <a:rPr sz="1800" spc="-390" baseline="6944"/>
              <a:t>o</a:t>
            </a:r>
            <a:r>
              <a:rPr sz="800" spc="-260"/>
              <a:t>/o</a:t>
            </a:r>
            <a:r>
              <a:rPr sz="1800" spc="-390" baseline="6944"/>
              <a:t>s</a:t>
            </a:r>
            <a:r>
              <a:rPr sz="800" spc="-260"/>
              <a:t>r</a:t>
            </a:r>
            <a:r>
              <a:rPr sz="800" spc="-130"/>
              <a:t> </a:t>
            </a:r>
            <a:r>
              <a:rPr sz="1800" spc="-277" baseline="6944"/>
              <a:t>i</a:t>
            </a:r>
            <a:r>
              <a:rPr sz="800" spc="-185"/>
              <a:t>i</a:t>
            </a:r>
            <a:r>
              <a:rPr sz="1800" spc="-277" baseline="6944"/>
              <a:t>g</a:t>
            </a:r>
            <a:r>
              <a:rPr sz="800" spc="-185"/>
              <a:t>ts</a:t>
            </a:r>
            <a:r>
              <a:rPr sz="800" spc="-170"/>
              <a:t> </a:t>
            </a:r>
            <a:r>
              <a:rPr sz="1800" spc="-195" baseline="6944"/>
              <a:t>h</a:t>
            </a:r>
            <a:r>
              <a:rPr sz="800" spc="-130"/>
              <a:t>af</a:t>
            </a:r>
            <a:r>
              <a:rPr sz="1800" spc="-195" baseline="6944"/>
              <a:t>t</a:t>
            </a:r>
            <a:r>
              <a:rPr sz="800" spc="-130"/>
              <a:t>fili</a:t>
            </a:r>
            <a:r>
              <a:rPr sz="1800" spc="-195" baseline="6944"/>
              <a:t>C</a:t>
            </a:r>
            <a:r>
              <a:rPr sz="800" spc="-130"/>
              <a:t>ate</a:t>
            </a:r>
            <a:r>
              <a:rPr sz="1800" spc="-195" baseline="6944"/>
              <a:t>o</a:t>
            </a:r>
            <a:r>
              <a:rPr sz="800" spc="-130"/>
              <a:t>s</a:t>
            </a:r>
            <a:r>
              <a:rPr sz="1800" spc="-195" baseline="6944"/>
              <a:t>nsulting</a:t>
            </a:r>
            <a:fld id="{81D60167-4931-47E6-BA6A-407CBD079E47}" type="slidenum">
              <a:rPr sz="800" spc="-130" dirty="0"/>
              <a:t>‹#›</a:t>
            </a:fld>
            <a:endParaRPr sz="800"/>
          </a:p>
        </p:txBody>
      </p:sp>
    </p:spTree>
    <p:extLst>
      <p:ext uri="{BB962C8B-B14F-4D97-AF65-F5344CB8AC3E}">
        <p14:creationId xmlns:p14="http://schemas.microsoft.com/office/powerpoint/2010/main" val="3021736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F4FE3A-9B4B-4A28-8809-14880C2FE1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27914" y="3014946"/>
            <a:ext cx="4331172" cy="26976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Your Random Acts </a:t>
            </a:r>
            <a:br>
              <a:rPr lang="en-US" dirty="0"/>
            </a:br>
            <a:r>
              <a:rPr lang="en-US" dirty="0"/>
              <a:t>of Innovation aren’t working </a:t>
            </a:r>
          </a:p>
          <a:p>
            <a:pPr>
              <a:spcBef>
                <a:spcPts val="0"/>
              </a:spcBef>
            </a:pPr>
            <a:br>
              <a:rPr lang="en-US" sz="800" dirty="0"/>
            </a:br>
            <a:r>
              <a:rPr lang="en-US" sz="2800" b="0" i="1" dirty="0"/>
              <a:t>A discussion on building an Innovation System</a:t>
            </a:r>
          </a:p>
          <a:p>
            <a:pPr>
              <a:spcBef>
                <a:spcPts val="0"/>
              </a:spcBef>
            </a:pP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088569-DA31-4E4D-B982-2D9D8FE1BA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2088" y="5619159"/>
            <a:ext cx="5241751" cy="287771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February 15</a:t>
            </a:r>
            <a:r>
              <a:rPr lang="en-US" baseline="30000" dirty="0">
                <a:solidFill>
                  <a:schemeClr val="bg1">
                    <a:lumMod val="95000"/>
                  </a:schemeClr>
                </a:solidFill>
              </a:rPr>
              <a:t>th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, 2024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8E9139-6008-1A3B-0A70-A619F34440C1}"/>
              </a:ext>
            </a:extLst>
          </p:cNvPr>
          <p:cNvSpPr/>
          <p:nvPr/>
        </p:nvSpPr>
        <p:spPr>
          <a:xfrm>
            <a:off x="5909993" y="1423672"/>
            <a:ext cx="2486109" cy="2164901"/>
          </a:xfrm>
          <a:prstGeom prst="rect">
            <a:avLst/>
          </a:prstGeom>
          <a:solidFill>
            <a:srgbClr val="FEAF1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b="1" i="0" u="none" strike="noStrike" cap="none" spc="0" normalizeH="0" baseline="0">
                <a:ln>
                  <a:noFill/>
                </a:ln>
                <a:effectLst/>
                <a:uFillTx/>
                <a:latin typeface="+mn-lt"/>
                <a:ea typeface="+mn-ea"/>
                <a:cs typeface="+mn-cs"/>
                <a:sym typeface="Helvetica Neue Medium"/>
              </a:rPr>
              <a:t>Update picture to reflect de-carbonized future of utilities</a:t>
            </a:r>
            <a:endParaRPr kumimoji="0" lang="en-US" sz="2400" b="1" i="0" u="none" strike="noStrike" cap="none" spc="0" normalizeH="0" baseline="0">
              <a:ln>
                <a:noFill/>
              </a:ln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A39F534B-4C02-B2E7-ECDC-99CDB5E883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3" r="4413"/>
          <a:stretch/>
        </p:blipFill>
        <p:spPr/>
      </p:pic>
    </p:spTree>
    <p:extLst>
      <p:ext uri="{BB962C8B-B14F-4D97-AF65-F5344CB8AC3E}">
        <p14:creationId xmlns:p14="http://schemas.microsoft.com/office/powerpoint/2010/main" val="2536949357"/>
      </p:ext>
    </p:extLst>
  </p:cSld>
  <p:clrMapOvr>
    <a:masterClrMapping/>
  </p:clrMapOvr>
  <p:transition spd="med" advClick="0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The Pace of Technology Adoption is Speeding Up">
            <a:extLst>
              <a:ext uri="{FF2B5EF4-FFF2-40B4-BE49-F238E27FC236}">
                <a16:creationId xmlns:a16="http://schemas.microsoft.com/office/drawing/2014/main" id="{2590FD59-F490-5C6D-DCE5-7A283ADEF1A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0412" y="1322196"/>
            <a:ext cx="10540585" cy="4990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6B0F113-D256-8B32-52E7-9546CBD33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 is the only constant</a:t>
            </a:r>
          </a:p>
        </p:txBody>
      </p:sp>
    </p:spTree>
    <p:extLst>
      <p:ext uri="{BB962C8B-B14F-4D97-AF65-F5344CB8AC3E}">
        <p14:creationId xmlns:p14="http://schemas.microsoft.com/office/powerpoint/2010/main" val="729067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15A9FD6B-3855-4755-97E8-B95C62D3C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ruption is accelerating. Corporate lifespans are shrink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64B141-A6AB-4E31-687E-9DC7BAB7C5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1FF6FF-5594-4918-88FC-3068253793F2}" type="slidenum">
              <a:rPr lang="en-US" smtClean="0"/>
              <a:t>2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FE3CF1-6992-3EB6-A100-8CF200A61B27}"/>
              </a:ext>
            </a:extLst>
          </p:cNvPr>
          <p:cNvSpPr txBox="1"/>
          <p:nvPr/>
        </p:nvSpPr>
        <p:spPr>
          <a:xfrm>
            <a:off x="43840" y="6612658"/>
            <a:ext cx="60484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200"/>
              </a:spcBef>
              <a:spcAft>
                <a:spcPts val="400"/>
              </a:spcAft>
            </a:pP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Source: “Corporate Longevity: Turbulence Ahead for Large Organizations,” Innosight briefing, Spring 2021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C684E15-6DDC-9BD0-9515-EF2835FA6682}"/>
              </a:ext>
            </a:extLst>
          </p:cNvPr>
          <p:cNvSpPr txBox="1">
            <a:spLocks/>
          </p:cNvSpPr>
          <p:nvPr/>
        </p:nvSpPr>
        <p:spPr>
          <a:xfrm>
            <a:off x="893037" y="1672050"/>
            <a:ext cx="10514171" cy="579120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1087438" rtl="0" eaLnBrk="1" fontAlgn="base" hangingPunct="1">
              <a:spcBef>
                <a:spcPct val="0"/>
              </a:spcBef>
              <a:spcAft>
                <a:spcPct val="0"/>
              </a:spcAft>
              <a:defRPr sz="2000" b="1" i="1" kern="1200" cap="none" baseline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sz="1400" i="0" dirty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rPr>
              <a:t>Average lifespan on S&amp;P 500</a:t>
            </a:r>
            <a:endParaRPr lang="en-US" sz="1400" i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AACC4E3-47EE-DE5E-7BE5-CF3454AB7C99}"/>
              </a:ext>
            </a:extLst>
          </p:cNvPr>
          <p:cNvSpPr txBox="1">
            <a:spLocks/>
          </p:cNvSpPr>
          <p:nvPr/>
        </p:nvSpPr>
        <p:spPr>
          <a:xfrm>
            <a:off x="893037" y="1672050"/>
            <a:ext cx="10514171" cy="579120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1087438" rtl="0" eaLnBrk="1" fontAlgn="base" hangingPunct="1">
              <a:spcBef>
                <a:spcPct val="0"/>
              </a:spcBef>
              <a:spcAft>
                <a:spcPct val="0"/>
              </a:spcAft>
              <a:defRPr sz="2000" b="1" i="1" kern="1200" cap="none" baseline="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defRPr>
            </a:lvl1pPr>
            <a:lvl2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4572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9144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13716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1828800" algn="ctr" defTabSz="1087438" rtl="0" eaLnBrk="1" fontAlgn="base" hangingPunct="1">
              <a:spcBef>
                <a:spcPct val="0"/>
              </a:spcBef>
              <a:spcAft>
                <a:spcPct val="0"/>
              </a:spcAft>
              <a:defRPr sz="5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sz="1400" i="0" dirty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rPr>
              <a:t>Average lifespan on S&amp;P 500</a:t>
            </a:r>
            <a:endParaRPr lang="en-US" sz="1400" i="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C6129AC-F581-9A7D-D67C-F400BD4421A5}"/>
              </a:ext>
            </a:extLst>
          </p:cNvPr>
          <p:cNvGrpSpPr/>
          <p:nvPr/>
        </p:nvGrpSpPr>
        <p:grpSpPr>
          <a:xfrm>
            <a:off x="565829" y="2211085"/>
            <a:ext cx="10741469" cy="3288042"/>
            <a:chOff x="811394" y="2090320"/>
            <a:chExt cx="10741469" cy="328804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3F77A0E-C27B-9CDF-FDD6-D09772F11011}"/>
                </a:ext>
              </a:extLst>
            </p:cNvPr>
            <p:cNvSpPr txBox="1"/>
            <p:nvPr/>
          </p:nvSpPr>
          <p:spPr>
            <a:xfrm rot="16200000">
              <a:off x="608735" y="3560041"/>
              <a:ext cx="713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Years</a:t>
              </a:r>
            </a:p>
          </p:txBody>
        </p:sp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CA5861E1-A0B8-FF86-151D-E9D18788A5A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50574084"/>
                </p:ext>
              </p:extLst>
            </p:nvPr>
          </p:nvGraphicFramePr>
          <p:xfrm>
            <a:off x="891977" y="2090320"/>
            <a:ext cx="10660886" cy="32880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5AC9C3E5-073A-2B0A-602D-717757AA729A}"/>
              </a:ext>
            </a:extLst>
          </p:cNvPr>
          <p:cNvSpPr/>
          <p:nvPr/>
        </p:nvSpPr>
        <p:spPr>
          <a:xfrm>
            <a:off x="893037" y="1892362"/>
            <a:ext cx="19303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rPr>
              <a:t>Rolling 7-year averages</a:t>
            </a:r>
            <a:endParaRPr lang="en-US" sz="1200" dirty="0">
              <a:solidFill>
                <a:prstClr val="black"/>
              </a:solidFill>
              <a:latin typeface="Century Gothic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74B577-FB72-B933-59A6-9E7CDFD6DA21}"/>
              </a:ext>
            </a:extLst>
          </p:cNvPr>
          <p:cNvSpPr txBox="1"/>
          <p:nvPr/>
        </p:nvSpPr>
        <p:spPr>
          <a:xfrm>
            <a:off x="9781425" y="3476070"/>
            <a:ext cx="1281113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600" b="1" i="1" dirty="0">
                <a:solidFill>
                  <a:srgbClr val="FF0000"/>
                </a:solidFill>
                <a:latin typeface="Century Gothic" panose="020B0502020202020204" pitchFamily="34" charset="0"/>
              </a:rPr>
              <a:t>Projecte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39B554E-A437-5C5E-35D0-A84CEA187D54}"/>
              </a:ext>
            </a:extLst>
          </p:cNvPr>
          <p:cNvGrpSpPr/>
          <p:nvPr/>
        </p:nvGrpSpPr>
        <p:grpSpPr>
          <a:xfrm>
            <a:off x="565829" y="2211085"/>
            <a:ext cx="10741469" cy="3288042"/>
            <a:chOff x="811394" y="2090320"/>
            <a:chExt cx="10741469" cy="328804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6E6FCD9-F0B7-E6B4-CEF3-6E31DDDE08D5}"/>
                </a:ext>
              </a:extLst>
            </p:cNvPr>
            <p:cNvSpPr txBox="1"/>
            <p:nvPr/>
          </p:nvSpPr>
          <p:spPr>
            <a:xfrm rot="16200000">
              <a:off x="608735" y="3560041"/>
              <a:ext cx="7130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  <a:lumOff val="50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</a:rPr>
                <a:t>Years</a:t>
              </a:r>
            </a:p>
          </p:txBody>
        </p:sp>
        <p:graphicFrame>
          <p:nvGraphicFramePr>
            <p:cNvPr id="14" name="Chart 13">
              <a:extLst>
                <a:ext uri="{FF2B5EF4-FFF2-40B4-BE49-F238E27FC236}">
                  <a16:creationId xmlns:a16="http://schemas.microsoft.com/office/drawing/2014/main" id="{A02B6EDC-6DFF-DFC4-F948-CED0E04F59E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36876369"/>
                </p:ext>
              </p:extLst>
            </p:nvPr>
          </p:nvGraphicFramePr>
          <p:xfrm>
            <a:off x="891977" y="2090320"/>
            <a:ext cx="10660886" cy="328804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7097D709-D308-0326-1DA6-7443ACCEE638}"/>
              </a:ext>
            </a:extLst>
          </p:cNvPr>
          <p:cNvSpPr/>
          <p:nvPr/>
        </p:nvSpPr>
        <p:spPr>
          <a:xfrm>
            <a:off x="893037" y="1892362"/>
            <a:ext cx="19303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Century Gothic" charset="0"/>
                <a:ea typeface="Century Gothic" charset="0"/>
                <a:cs typeface="Century Gothic" charset="0"/>
              </a:rPr>
              <a:t>Rolling 7-year averages</a:t>
            </a:r>
            <a:endParaRPr lang="en-US" sz="1200" dirty="0">
              <a:solidFill>
                <a:prstClr val="black"/>
              </a:solidFill>
              <a:latin typeface="Century Gothic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87EC68B-5ABD-226B-36BB-4E8F9CA4D01F}"/>
              </a:ext>
            </a:extLst>
          </p:cNvPr>
          <p:cNvSpPr txBox="1"/>
          <p:nvPr/>
        </p:nvSpPr>
        <p:spPr>
          <a:xfrm>
            <a:off x="9781425" y="3476070"/>
            <a:ext cx="1281113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914400" fontAlgn="auto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600" b="1" i="1" dirty="0">
                <a:solidFill>
                  <a:srgbClr val="FF0000"/>
                </a:solidFill>
                <a:latin typeface="Century Gothic" panose="020B0502020202020204" pitchFamily="34" charset="0"/>
              </a:rPr>
              <a:t>Projected</a:t>
            </a:r>
          </a:p>
        </p:txBody>
      </p:sp>
    </p:spTree>
    <p:extLst>
      <p:ext uri="{BB962C8B-B14F-4D97-AF65-F5344CB8AC3E}">
        <p14:creationId xmlns:p14="http://schemas.microsoft.com/office/powerpoint/2010/main" val="1374262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7EE437-727C-6B50-6D36-856A2BA0118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95125" y="6616700"/>
            <a:ext cx="396875" cy="222250"/>
          </a:xfrm>
        </p:spPr>
        <p:txBody>
          <a:bodyPr/>
          <a:lstStyle/>
          <a:p>
            <a:fld id="{A81FF6FF-5594-4918-88FC-3068253793F2}" type="slidenum">
              <a:rPr lang="en-US" smtClean="0"/>
              <a:t>3</a:t>
            </a:fld>
            <a:endParaRPr lang="en-US"/>
          </a:p>
        </p:txBody>
      </p:sp>
      <p:pic>
        <p:nvPicPr>
          <p:cNvPr id="4" name="Picture 3" descr="A white spiraling tunnel with many rows of lines&#10;&#10;Description automatically generated with medium confidence">
            <a:extLst>
              <a:ext uri="{FF2B5EF4-FFF2-40B4-BE49-F238E27FC236}">
                <a16:creationId xmlns:a16="http://schemas.microsoft.com/office/drawing/2014/main" id="{B37C5898-F578-BA87-F720-747457B889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" y="0"/>
            <a:ext cx="12190240" cy="6858000"/>
          </a:xfrm>
          <a:prstGeom prst="rect">
            <a:avLst/>
          </a:prstGeom>
        </p:spPr>
      </p:pic>
      <p:sp>
        <p:nvSpPr>
          <p:cNvPr id="5" name="TextBox 11">
            <a:extLst>
              <a:ext uri="{FF2B5EF4-FFF2-40B4-BE49-F238E27FC236}">
                <a16:creationId xmlns:a16="http://schemas.microsoft.com/office/drawing/2014/main" id="{B012F173-A024-7533-01A9-8B6B65399F02}"/>
              </a:ext>
            </a:extLst>
          </p:cNvPr>
          <p:cNvSpPr txBox="1"/>
          <p:nvPr/>
        </p:nvSpPr>
        <p:spPr>
          <a:xfrm>
            <a:off x="411757" y="1602124"/>
            <a:ext cx="34154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novation is…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AF37B68B-79A1-61AA-335C-AFB371556946}"/>
              </a:ext>
            </a:extLst>
          </p:cNvPr>
          <p:cNvSpPr txBox="1"/>
          <p:nvPr/>
        </p:nvSpPr>
        <p:spPr>
          <a:xfrm>
            <a:off x="7806841" y="1717673"/>
            <a:ext cx="18407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9D4E1B9-B189-4B82-F949-FF662DA55A49}"/>
              </a:ext>
            </a:extLst>
          </p:cNvPr>
          <p:cNvGrpSpPr/>
          <p:nvPr/>
        </p:nvGrpSpPr>
        <p:grpSpPr>
          <a:xfrm>
            <a:off x="3747566" y="2071616"/>
            <a:ext cx="2368091" cy="2814229"/>
            <a:chOff x="2484569" y="2457613"/>
            <a:chExt cx="2368091" cy="2814229"/>
          </a:xfrm>
          <a:solidFill>
            <a:schemeClr val="tx2"/>
          </a:solidFill>
        </p:grpSpPr>
        <p:cxnSp>
          <p:nvCxnSpPr>
            <p:cNvPr id="8" name="Straight Connector 32">
              <a:extLst>
                <a:ext uri="{FF2B5EF4-FFF2-40B4-BE49-F238E27FC236}">
                  <a16:creationId xmlns:a16="http://schemas.microsoft.com/office/drawing/2014/main" id="{43D40FAD-6D08-39EB-269B-B0771C0122BE}"/>
                </a:ext>
              </a:extLst>
            </p:cNvPr>
            <p:cNvCxnSpPr>
              <a:cxnSpLocks/>
              <a:stCxn id="13" idx="3"/>
            </p:cNvCxnSpPr>
            <p:nvPr/>
          </p:nvCxnSpPr>
          <p:spPr>
            <a:xfrm flipH="1">
              <a:off x="3101469" y="3631836"/>
              <a:ext cx="549858" cy="1163555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9" name="Straight Connector 35">
              <a:extLst>
                <a:ext uri="{FF2B5EF4-FFF2-40B4-BE49-F238E27FC236}">
                  <a16:creationId xmlns:a16="http://schemas.microsoft.com/office/drawing/2014/main" id="{385D13AA-D96F-057C-65C3-3D5961FFB907}"/>
                </a:ext>
              </a:extLst>
            </p:cNvPr>
            <p:cNvCxnSpPr/>
            <p:nvPr/>
          </p:nvCxnSpPr>
          <p:spPr>
            <a:xfrm>
              <a:off x="3759061" y="3524102"/>
              <a:ext cx="50887" cy="1015861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8230063-38C0-7731-3BFD-DC5181BAF027}"/>
                </a:ext>
              </a:extLst>
            </p:cNvPr>
            <p:cNvCxnSpPr/>
            <p:nvPr/>
          </p:nvCxnSpPr>
          <p:spPr>
            <a:xfrm>
              <a:off x="3784504" y="3524102"/>
              <a:ext cx="573804" cy="355571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11" name="Straight Connector 5">
              <a:extLst>
                <a:ext uri="{FF2B5EF4-FFF2-40B4-BE49-F238E27FC236}">
                  <a16:creationId xmlns:a16="http://schemas.microsoft.com/office/drawing/2014/main" id="{31CAE80C-F3CD-0A67-1336-357E1F418FAE}"/>
                </a:ext>
              </a:extLst>
            </p:cNvPr>
            <p:cNvCxnSpPr/>
            <p:nvPr/>
          </p:nvCxnSpPr>
          <p:spPr>
            <a:xfrm flipH="1">
              <a:off x="3729889" y="2457613"/>
              <a:ext cx="628420" cy="1053584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12" name="Straight Connector 24">
              <a:extLst>
                <a:ext uri="{FF2B5EF4-FFF2-40B4-BE49-F238E27FC236}">
                  <a16:creationId xmlns:a16="http://schemas.microsoft.com/office/drawing/2014/main" id="{17616E10-67BC-30B7-5563-CA6146B0987D}"/>
                </a:ext>
              </a:extLst>
            </p:cNvPr>
            <p:cNvCxnSpPr/>
            <p:nvPr/>
          </p:nvCxnSpPr>
          <p:spPr>
            <a:xfrm flipH="1">
              <a:off x="3101469" y="3524102"/>
              <a:ext cx="628420" cy="228272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C4BE45AC-D5DB-AEAE-F208-395FDDE6AD79}"/>
                </a:ext>
              </a:extLst>
            </p:cNvPr>
            <p:cNvSpPr/>
            <p:nvPr/>
          </p:nvSpPr>
          <p:spPr>
            <a:xfrm>
              <a:off x="3606702" y="3371743"/>
              <a:ext cx="304718" cy="304718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r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B1C97FC-C19B-7059-04A4-D3AE9641925A}"/>
                </a:ext>
              </a:extLst>
            </p:cNvPr>
            <p:cNvSpPr/>
            <p:nvPr/>
          </p:nvSpPr>
          <p:spPr>
            <a:xfrm>
              <a:off x="2484569" y="3376408"/>
              <a:ext cx="752506" cy="752506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wrap="none"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roduct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57B9EF3-8062-7068-3BE7-24E5B66AFAA5}"/>
                </a:ext>
              </a:extLst>
            </p:cNvPr>
            <p:cNvSpPr/>
            <p:nvPr/>
          </p:nvSpPr>
          <p:spPr>
            <a:xfrm>
              <a:off x="2663173" y="4419138"/>
              <a:ext cx="752506" cy="752506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ervice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057A428-2713-7F5B-F050-9DA4D56EACAE}"/>
                </a:ext>
              </a:extLst>
            </p:cNvPr>
            <p:cNvSpPr/>
            <p:nvPr/>
          </p:nvSpPr>
          <p:spPr>
            <a:xfrm>
              <a:off x="3526161" y="4153714"/>
              <a:ext cx="1118128" cy="1118128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pproach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859B340-FE7F-33D1-885D-BBBB679A31FE}"/>
                </a:ext>
              </a:extLst>
            </p:cNvPr>
            <p:cNvSpPr/>
            <p:nvPr/>
          </p:nvSpPr>
          <p:spPr>
            <a:xfrm>
              <a:off x="4069600" y="3412825"/>
              <a:ext cx="783060" cy="783060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</a:p>
          </p:txBody>
        </p:sp>
      </p:grpSp>
      <p:cxnSp>
        <p:nvCxnSpPr>
          <p:cNvPr id="18" name="Straight Connector 56">
            <a:extLst>
              <a:ext uri="{FF2B5EF4-FFF2-40B4-BE49-F238E27FC236}">
                <a16:creationId xmlns:a16="http://schemas.microsoft.com/office/drawing/2014/main" id="{69668580-C222-ECE2-CB1D-4AE72CC0806F}"/>
              </a:ext>
            </a:extLst>
          </p:cNvPr>
          <p:cNvCxnSpPr>
            <a:cxnSpLocks/>
            <a:stCxn id="45" idx="2"/>
          </p:cNvCxnSpPr>
          <p:nvPr/>
        </p:nvCxnSpPr>
        <p:spPr>
          <a:xfrm flipH="1">
            <a:off x="9597739" y="2240894"/>
            <a:ext cx="357398" cy="731795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tailEnd type="none"/>
          </a:ln>
          <a:effectLst/>
        </p:spPr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2B9E3C5-02E9-455C-9604-D9FFEF050C1B}"/>
              </a:ext>
            </a:extLst>
          </p:cNvPr>
          <p:cNvGrpSpPr/>
          <p:nvPr/>
        </p:nvGrpSpPr>
        <p:grpSpPr>
          <a:xfrm>
            <a:off x="8593187" y="2836903"/>
            <a:ext cx="2199170" cy="3062048"/>
            <a:chOff x="7330190" y="3222900"/>
            <a:chExt cx="2199170" cy="3062048"/>
          </a:xfrm>
          <a:solidFill>
            <a:schemeClr val="accent1"/>
          </a:solidFill>
        </p:grpSpPr>
        <p:cxnSp>
          <p:nvCxnSpPr>
            <p:cNvPr id="20" name="Straight Connector 66">
              <a:extLst>
                <a:ext uri="{FF2B5EF4-FFF2-40B4-BE49-F238E27FC236}">
                  <a16:creationId xmlns:a16="http://schemas.microsoft.com/office/drawing/2014/main" id="{C7044943-714A-558A-6733-3A40C87E012C}"/>
                </a:ext>
              </a:extLst>
            </p:cNvPr>
            <p:cNvCxnSpPr/>
            <p:nvPr/>
          </p:nvCxnSpPr>
          <p:spPr>
            <a:xfrm flipH="1">
              <a:off x="7895489" y="3456789"/>
              <a:ext cx="441132" cy="672125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21" name="Straight Connector 69">
              <a:extLst>
                <a:ext uri="{FF2B5EF4-FFF2-40B4-BE49-F238E27FC236}">
                  <a16:creationId xmlns:a16="http://schemas.microsoft.com/office/drawing/2014/main" id="{F22500CE-61ED-F4B8-A716-BCC0F97EF242}"/>
                </a:ext>
              </a:extLst>
            </p:cNvPr>
            <p:cNvCxnSpPr/>
            <p:nvPr/>
          </p:nvCxnSpPr>
          <p:spPr>
            <a:xfrm flipH="1" flipV="1">
              <a:off x="8334742" y="3454060"/>
              <a:ext cx="665144" cy="298601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22" name="Straight Connector 72">
              <a:extLst>
                <a:ext uri="{FF2B5EF4-FFF2-40B4-BE49-F238E27FC236}">
                  <a16:creationId xmlns:a16="http://schemas.microsoft.com/office/drawing/2014/main" id="{0606B715-AE37-92C3-41B9-4AF1378C5826}"/>
                </a:ext>
              </a:extLst>
            </p:cNvPr>
            <p:cNvCxnSpPr/>
            <p:nvPr/>
          </p:nvCxnSpPr>
          <p:spPr>
            <a:xfrm flipV="1">
              <a:off x="8617406" y="3792851"/>
              <a:ext cx="351233" cy="797846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23" name="Straight Connector 75">
              <a:extLst>
                <a:ext uri="{FF2B5EF4-FFF2-40B4-BE49-F238E27FC236}">
                  <a16:creationId xmlns:a16="http://schemas.microsoft.com/office/drawing/2014/main" id="{91E3433C-DB21-68B8-0F67-45E9080DB25C}"/>
                </a:ext>
              </a:extLst>
            </p:cNvPr>
            <p:cNvCxnSpPr/>
            <p:nvPr/>
          </p:nvCxnSpPr>
          <p:spPr>
            <a:xfrm flipV="1">
              <a:off x="8611742" y="4590698"/>
              <a:ext cx="36911" cy="828674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24" name="Straight Connector 78">
              <a:extLst>
                <a:ext uri="{FF2B5EF4-FFF2-40B4-BE49-F238E27FC236}">
                  <a16:creationId xmlns:a16="http://schemas.microsoft.com/office/drawing/2014/main" id="{529FAB90-E99D-CF96-75FB-A5915BD942AD}"/>
                </a:ext>
              </a:extLst>
            </p:cNvPr>
            <p:cNvCxnSpPr/>
            <p:nvPr/>
          </p:nvCxnSpPr>
          <p:spPr>
            <a:xfrm flipV="1">
              <a:off x="7895489" y="5419373"/>
              <a:ext cx="721917" cy="444499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56AD8F49-A3B8-0F54-7D1E-D3F2A46AC3EE}"/>
                </a:ext>
              </a:extLst>
            </p:cNvPr>
            <p:cNvSpPr/>
            <p:nvPr/>
          </p:nvSpPr>
          <p:spPr>
            <a:xfrm>
              <a:off x="8239369" y="3358686"/>
              <a:ext cx="190746" cy="190746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r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914CE66-9920-BDD2-4110-D5451F88BC59}"/>
                </a:ext>
              </a:extLst>
            </p:cNvPr>
            <p:cNvSpPr/>
            <p:nvPr/>
          </p:nvSpPr>
          <p:spPr>
            <a:xfrm>
              <a:off x="8335012" y="4283406"/>
              <a:ext cx="564788" cy="564788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ess Cost</a:t>
              </a: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FC44DBB-789F-90B3-DC5E-FDB4FD86F44F}"/>
                </a:ext>
              </a:extLst>
            </p:cNvPr>
            <p:cNvSpPr/>
            <p:nvPr/>
          </p:nvSpPr>
          <p:spPr>
            <a:xfrm>
              <a:off x="8470412" y="3222900"/>
              <a:ext cx="1058948" cy="1058948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ore Revenues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899D3F38-44EA-B9E0-9200-74A750655301}"/>
                </a:ext>
              </a:extLst>
            </p:cNvPr>
            <p:cNvSpPr/>
            <p:nvPr/>
          </p:nvSpPr>
          <p:spPr>
            <a:xfrm>
              <a:off x="8146355" y="4979219"/>
              <a:ext cx="930774" cy="930774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mproved Retention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AD0A907-BECD-C251-8733-63472C0FADF1}"/>
                </a:ext>
              </a:extLst>
            </p:cNvPr>
            <p:cNvSpPr/>
            <p:nvPr/>
          </p:nvSpPr>
          <p:spPr>
            <a:xfrm>
              <a:off x="7330190" y="3711337"/>
              <a:ext cx="1004552" cy="1004552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igher Customer Loyalty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DDD93C8-0B8C-45C0-B3B4-DDF4E027644B}"/>
                </a:ext>
              </a:extLst>
            </p:cNvPr>
            <p:cNvSpPr/>
            <p:nvPr/>
          </p:nvSpPr>
          <p:spPr>
            <a:xfrm>
              <a:off x="7442927" y="5566944"/>
              <a:ext cx="718004" cy="718004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Other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D996988-44A1-2790-B145-2978D0573A92}"/>
              </a:ext>
            </a:extLst>
          </p:cNvPr>
          <p:cNvGrpSpPr/>
          <p:nvPr/>
        </p:nvGrpSpPr>
        <p:grpSpPr>
          <a:xfrm>
            <a:off x="6063312" y="2016640"/>
            <a:ext cx="2176809" cy="3629816"/>
            <a:chOff x="4800315" y="2402637"/>
            <a:chExt cx="2176809" cy="3629816"/>
          </a:xfrm>
          <a:solidFill>
            <a:schemeClr val="accent1"/>
          </a:solidFill>
        </p:grpSpPr>
        <p:cxnSp>
          <p:nvCxnSpPr>
            <p:cNvPr id="32" name="Straight Connector 42">
              <a:extLst>
                <a:ext uri="{FF2B5EF4-FFF2-40B4-BE49-F238E27FC236}">
                  <a16:creationId xmlns:a16="http://schemas.microsoft.com/office/drawing/2014/main" id="{4250805E-25D3-5ED1-B7A3-59043C31DB2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99186" y="2402637"/>
              <a:ext cx="582131" cy="930774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33" name="Straight Connector 44">
              <a:extLst>
                <a:ext uri="{FF2B5EF4-FFF2-40B4-BE49-F238E27FC236}">
                  <a16:creationId xmlns:a16="http://schemas.microsoft.com/office/drawing/2014/main" id="{005F0016-F4BC-6FA9-8A09-85AD9B821D73}"/>
                </a:ext>
              </a:extLst>
            </p:cNvPr>
            <p:cNvCxnSpPr>
              <a:stCxn id="39" idx="4"/>
            </p:cNvCxnSpPr>
            <p:nvPr/>
          </p:nvCxnSpPr>
          <p:spPr>
            <a:xfrm flipH="1">
              <a:off x="5480741" y="3434575"/>
              <a:ext cx="122203" cy="1683478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34" name="Straight Connector 45">
              <a:extLst>
                <a:ext uri="{FF2B5EF4-FFF2-40B4-BE49-F238E27FC236}">
                  <a16:creationId xmlns:a16="http://schemas.microsoft.com/office/drawing/2014/main" id="{46DF72AC-AD14-0A51-C8AB-2A141D4996F2}"/>
                </a:ext>
              </a:extLst>
            </p:cNvPr>
            <p:cNvCxnSpPr/>
            <p:nvPr/>
          </p:nvCxnSpPr>
          <p:spPr>
            <a:xfrm>
              <a:off x="5608683" y="3333411"/>
              <a:ext cx="903054" cy="418963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cxnSp>
          <p:nvCxnSpPr>
            <p:cNvPr id="35" name="Straight Connector 46">
              <a:extLst>
                <a:ext uri="{FF2B5EF4-FFF2-40B4-BE49-F238E27FC236}">
                  <a16:creationId xmlns:a16="http://schemas.microsoft.com/office/drawing/2014/main" id="{78174F8D-8F1D-3568-3184-EA88A946D972}"/>
                </a:ext>
              </a:extLst>
            </p:cNvPr>
            <p:cNvCxnSpPr>
              <a:stCxn id="39" idx="3"/>
              <a:endCxn id="36" idx="0"/>
            </p:cNvCxnSpPr>
            <p:nvPr/>
          </p:nvCxnSpPr>
          <p:spPr>
            <a:xfrm flipH="1">
              <a:off x="5176568" y="3406641"/>
              <a:ext cx="358937" cy="492212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EBAC0FE-16D1-F651-5C0C-D12B1BB8DA57}"/>
                </a:ext>
              </a:extLst>
            </p:cNvPr>
            <p:cNvSpPr/>
            <p:nvPr/>
          </p:nvSpPr>
          <p:spPr>
            <a:xfrm>
              <a:off x="4800315" y="3898853"/>
              <a:ext cx="752506" cy="752506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Easier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7B2EC87-B650-1149-4169-AA1C9E2A3405}"/>
                </a:ext>
              </a:extLst>
            </p:cNvPr>
            <p:cNvSpPr/>
            <p:nvPr/>
          </p:nvSpPr>
          <p:spPr>
            <a:xfrm>
              <a:off x="5910120" y="4421075"/>
              <a:ext cx="854106" cy="854106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wrap="none"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heaper</a:t>
              </a: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A6D073BD-F987-C355-5FB2-765BB5B4AFB1}"/>
                </a:ext>
              </a:extLst>
            </p:cNvPr>
            <p:cNvSpPr/>
            <p:nvPr/>
          </p:nvSpPr>
          <p:spPr>
            <a:xfrm>
              <a:off x="6046350" y="3338968"/>
              <a:ext cx="930774" cy="930774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Fas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5E5C05B3-1923-E4C6-C575-81666A7543D3}"/>
                </a:ext>
              </a:extLst>
            </p:cNvPr>
            <p:cNvSpPr/>
            <p:nvPr/>
          </p:nvSpPr>
          <p:spPr>
            <a:xfrm>
              <a:off x="5507571" y="3243829"/>
              <a:ext cx="190746" cy="190746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r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33D1D81-38B9-CF0F-C82A-9586A1F6AFB1}"/>
                </a:ext>
              </a:extLst>
            </p:cNvPr>
            <p:cNvSpPr/>
            <p:nvPr/>
          </p:nvSpPr>
          <p:spPr>
            <a:xfrm>
              <a:off x="4921677" y="4914325"/>
              <a:ext cx="1118128" cy="1118128"/>
            </a:xfrm>
            <a:prstGeom prst="ellipse">
              <a:avLst/>
            </a:prstGeom>
            <a:grpFill/>
            <a:ln w="12700" cmpd="sng">
              <a:solidFill>
                <a:sysClr val="window" lastClr="FFFFFF">
                  <a:lumMod val="75000"/>
                </a:sysClr>
              </a:solidFill>
            </a:ln>
            <a:effectLst/>
            <a:scene3d>
              <a:camera prst="orthographicFront"/>
              <a:lightRig rig="threePt" dir="b"/>
            </a:scene3d>
            <a:sp3d prstMaterial="matte">
              <a:contourClr>
                <a:srgbClr val="93B4DD">
                  <a:tint val="10000"/>
                  <a:satMod val="130000"/>
                </a:srgbClr>
              </a:contourClr>
            </a:sp3d>
          </p:spPr>
          <p:txBody>
            <a:bodyPr lIns="0" tIns="0" rIns="0" bIns="0"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igher Performing</a:t>
              </a:r>
            </a:p>
          </p:txBody>
        </p:sp>
        <p:cxnSp>
          <p:nvCxnSpPr>
            <p:cNvPr id="41" name="Straight Connector 44">
              <a:extLst>
                <a:ext uri="{FF2B5EF4-FFF2-40B4-BE49-F238E27FC236}">
                  <a16:creationId xmlns:a16="http://schemas.microsoft.com/office/drawing/2014/main" id="{A36FA29D-424B-2CDD-C5E4-C00E0B536997}"/>
                </a:ext>
              </a:extLst>
            </p:cNvPr>
            <p:cNvCxnSpPr>
              <a:cxnSpLocks/>
              <a:stCxn id="39" idx="5"/>
              <a:endCxn id="37" idx="1"/>
            </p:cNvCxnSpPr>
            <p:nvPr/>
          </p:nvCxnSpPr>
          <p:spPr>
            <a:xfrm>
              <a:off x="5670383" y="3406641"/>
              <a:ext cx="364818" cy="1139515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tailEnd type="none"/>
            </a:ln>
            <a:effectLst/>
          </p:spPr>
        </p:cxnSp>
      </p:grpSp>
      <p:sp>
        <p:nvSpPr>
          <p:cNvPr id="42" name="Oval 41">
            <a:extLst>
              <a:ext uri="{FF2B5EF4-FFF2-40B4-BE49-F238E27FC236}">
                <a16:creationId xmlns:a16="http://schemas.microsoft.com/office/drawing/2014/main" id="{5E87D8C3-7248-B677-BE85-C0CD51027FA7}"/>
              </a:ext>
            </a:extLst>
          </p:cNvPr>
          <p:cNvSpPr/>
          <p:nvPr/>
        </p:nvSpPr>
        <p:spPr>
          <a:xfrm>
            <a:off x="4789158" y="1094412"/>
            <a:ext cx="1600200" cy="1600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93B4DD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600" ker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3D3062B-6C0A-730D-9834-2FB30F7AA00C}"/>
              </a:ext>
            </a:extLst>
          </p:cNvPr>
          <p:cNvSpPr txBox="1"/>
          <p:nvPr/>
        </p:nvSpPr>
        <p:spPr>
          <a:xfrm>
            <a:off x="4668574" y="1702284"/>
            <a:ext cx="18400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defRPr/>
            </a:pPr>
            <a:r>
              <a:rPr lang="en-US" sz="2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thing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02D68F3-8342-F66E-EC13-C09A075EAC14}"/>
              </a:ext>
            </a:extLst>
          </p:cNvPr>
          <p:cNvSpPr/>
          <p:nvPr/>
        </p:nvSpPr>
        <p:spPr>
          <a:xfrm>
            <a:off x="9155036" y="1098029"/>
            <a:ext cx="1600200" cy="1600200"/>
          </a:xfrm>
          <a:prstGeom prst="ellipse">
            <a:avLst/>
          </a:prstGeom>
          <a:solidFill>
            <a:sysClr val="window" lastClr="FFFFFF"/>
          </a:solidFill>
          <a:ln w="38100">
            <a:solidFill>
              <a:schemeClr val="accent1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93B4DD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35A4BB0-2FCB-B8FC-AAA7-9C9935CE1739}"/>
              </a:ext>
            </a:extLst>
          </p:cNvPr>
          <p:cNvSpPr txBox="1"/>
          <p:nvPr/>
        </p:nvSpPr>
        <p:spPr>
          <a:xfrm>
            <a:off x="9362520" y="1533008"/>
            <a:ext cx="1185233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ates value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D504CCA-BEA7-D613-9241-754E16F96B6F}"/>
              </a:ext>
            </a:extLst>
          </p:cNvPr>
          <p:cNvSpPr/>
          <p:nvPr/>
        </p:nvSpPr>
        <p:spPr>
          <a:xfrm>
            <a:off x="6699466" y="1101108"/>
            <a:ext cx="1600200" cy="16002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93B4DD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11">
            <a:extLst>
              <a:ext uri="{FF2B5EF4-FFF2-40B4-BE49-F238E27FC236}">
                <a16:creationId xmlns:a16="http://schemas.microsoft.com/office/drawing/2014/main" id="{D30D3F0F-E894-D693-659E-B0A7AF64E84F}"/>
              </a:ext>
            </a:extLst>
          </p:cNvPr>
          <p:cNvSpPr txBox="1"/>
          <p:nvPr/>
        </p:nvSpPr>
        <p:spPr>
          <a:xfrm>
            <a:off x="6898657" y="1702284"/>
            <a:ext cx="11993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ifferent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5348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72795" y="1056132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267814" y="1148618"/>
            <a:ext cx="1983739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velop an</a:t>
            </a:r>
            <a:r>
              <a:rPr kumimoji="0" lang="en-US" sz="1400" b="1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novation  Strateg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72795" y="1829561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267814" y="2029327"/>
            <a:ext cx="150939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un a</a:t>
            </a:r>
            <a:r>
              <a:rPr kumimoji="0" lang="en-US" sz="1400" b="1" i="0" u="none" strike="noStrike" kern="1200" cap="none" spc="-7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ckath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72795" y="2603754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267814" y="2696677"/>
            <a:ext cx="185229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Create an</a:t>
            </a:r>
            <a:r>
              <a:rPr kumimoji="0" lang="en-US" sz="1400" b="1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novation  Fun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72795" y="3377946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267814" y="3577387"/>
            <a:ext cx="219392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ild an Innovation</a:t>
            </a:r>
            <a:r>
              <a:rPr kumimoji="0" lang="en-US" sz="1400" b="1" i="0" u="none" strike="noStrike" kern="1200" cap="none" spc="-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a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72795" y="4152138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267814" y="4244737"/>
            <a:ext cx="2069464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mplement Lean Startup  Spri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72795" y="4925567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267814" y="5018768"/>
            <a:ext cx="148590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ild a Culture</a:t>
            </a:r>
            <a:r>
              <a:rPr kumimoji="0" lang="en-US" sz="1400" b="1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  Innov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72795" y="5699759"/>
            <a:ext cx="3462527" cy="643889"/>
          </a:xfrm>
          <a:prstGeom prst="rect">
            <a:avLst/>
          </a:prstGeom>
          <a:blipFill>
            <a:blip r:embed="rId2" cstate="print">
              <a:grayscl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267814" y="5792799"/>
            <a:ext cx="156083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point a Chief  Innovation</a:t>
            </a:r>
            <a:r>
              <a:rPr kumimoji="0" lang="en-US" sz="1400" b="1" i="0" u="none" strike="noStrike" kern="1200" cap="none" spc="-5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400" b="1" i="0" u="none" strike="noStrike" kern="1200" cap="none" spc="-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ficer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982973" y="1056132"/>
            <a:ext cx="7783067" cy="64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64000" y="1132616"/>
            <a:ext cx="7522845" cy="482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isalignment between enterprise strategy and innovation strategy leads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a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ortfolio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f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deas that are never prioritized for meaningful investment and</a:t>
            </a:r>
            <a:r>
              <a:rPr kumimoji="0" lang="en-US" sz="1500" b="0" i="0" u="none" strike="noStrike" kern="1200" cap="none" spc="16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caling.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982973" y="1829562"/>
            <a:ext cx="7783067" cy="64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064000" y="1906646"/>
            <a:ext cx="7574280" cy="482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ppropriate governance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versee decision making and resource allocation means great ideas have nowhere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go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r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re inconsistent with strategic</a:t>
            </a:r>
            <a:r>
              <a:rPr kumimoji="0" lang="en-US" sz="1500" b="0" i="0" u="none" strike="noStrike" kern="1200" cap="none" spc="15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iorities.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982973" y="2603754"/>
            <a:ext cx="7783067" cy="64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064000" y="2680675"/>
            <a:ext cx="6974205" cy="482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eaders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ut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ssure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n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unds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be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eallocated toward core initiatives with clearer short-term return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n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vestment</a:t>
            </a:r>
            <a:r>
              <a:rPr kumimoji="0" lang="en-US" sz="1500" b="0" i="0" u="none" strike="noStrike" kern="1200" cap="none" spc="5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ROI).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3982973" y="3377946"/>
            <a:ext cx="7783067" cy="6644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063999" y="3356882"/>
            <a:ext cx="7607555" cy="711200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lawed interaction model between the innovation team and the core business  results in the team getting sucked into incrementalism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r </a:t>
            </a:r>
            <a:r>
              <a:rPr kumimoji="0" lang="en-US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ursuing opportunities that are ultimately rejected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y </a:t>
            </a:r>
            <a:r>
              <a:rPr kumimoji="0" lang="en-US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</a:t>
            </a:r>
            <a:r>
              <a:rPr kumimoji="0" lang="en-US" sz="1500" b="0" i="0" u="none" strike="noStrike" kern="1200" cap="none" spc="1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usiness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3982973" y="4152138"/>
            <a:ext cx="7783067" cy="64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064000" y="4343035"/>
            <a:ext cx="6471285" cy="2436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chanisms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ransition the post-sprint projects into business</a:t>
            </a:r>
            <a:r>
              <a:rPr kumimoji="0" lang="en-US" sz="1500" b="0" i="0" u="none" strike="noStrike" kern="1200" cap="none" spc="16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nits.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982973" y="4925568"/>
            <a:ext cx="7783067" cy="64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064000" y="4996399"/>
            <a:ext cx="7457440" cy="4744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nderlying beliefs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bout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hat it takes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be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ccessful create resistance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havior change, leading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creasing cynicism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about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he organization’s ability </a:t>
            </a: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o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innovate.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3982973" y="5699759"/>
            <a:ext cx="7783067" cy="6438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064000" y="5776797"/>
            <a:ext cx="7071359" cy="482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rganizational confusion and frustration are created when the new role isn’t clearly integrated into strategy and resource allocation</a:t>
            </a:r>
            <a:r>
              <a:rPr kumimoji="0" lang="en-US" sz="1500" b="0" i="0" u="none" strike="noStrike" kern="1200" cap="none" spc="6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500" b="0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cisions.</a:t>
            </a: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xfrm>
            <a:off x="286209" y="372276"/>
            <a:ext cx="343662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800">
                <a:latin typeface="Segoe UI" panose="020B0502040204020203" pitchFamily="34" charset="0"/>
                <a:cs typeface="Segoe UI" panose="020B0502040204020203" pitchFamily="34" charset="0"/>
              </a:rPr>
              <a:t>Individual Innovation</a:t>
            </a:r>
            <a:r>
              <a:rPr lang="en-US" sz="1800" spc="-11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>
                <a:latin typeface="Segoe UI" panose="020B0502040204020203" pitchFamily="34" charset="0"/>
                <a:cs typeface="Segoe UI" panose="020B0502040204020203" pitchFamily="34" charset="0"/>
              </a:rPr>
              <a:t>Initiatives</a:t>
            </a:r>
          </a:p>
        </p:txBody>
      </p:sp>
      <p:sp>
        <p:nvSpPr>
          <p:cNvPr id="31" name="object 31"/>
          <p:cNvSpPr txBox="1"/>
          <p:nvPr/>
        </p:nvSpPr>
        <p:spPr>
          <a:xfrm>
            <a:off x="3984729" y="372276"/>
            <a:ext cx="290131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5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dictable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Failure</a:t>
            </a:r>
            <a:r>
              <a:rPr kumimoji="0" lang="en-US" sz="1800" b="1" i="0" u="none" strike="noStrike" kern="1200" cap="none" spc="-8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od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520445" y="1184909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35543" y="1231465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520445" y="1959102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635543" y="2005613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2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520445" y="2733294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35543" y="2779759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20445" y="3507485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635543" y="3553907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4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520445" y="4281677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635543" y="4328053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5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520445" y="5055870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635543" y="5102200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520445" y="5830061"/>
            <a:ext cx="369569" cy="369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635543" y="5876345"/>
            <a:ext cx="1397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7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3643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256007E8-568D-92AC-F117-E7A0061E2EDD}"/>
              </a:ext>
            </a:extLst>
          </p:cNvPr>
          <p:cNvSpPr/>
          <p:nvPr/>
        </p:nvSpPr>
        <p:spPr>
          <a:xfrm>
            <a:off x="5498118" y="4987236"/>
            <a:ext cx="5836390" cy="1097280"/>
          </a:xfrm>
          <a:prstGeom prst="roundRect">
            <a:avLst>
              <a:gd name="adj" fmla="val 8481"/>
            </a:avLst>
          </a:prstGeom>
          <a:noFill/>
          <a:ln w="5715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20B6A81B-18E8-1563-C9F3-C99FFF8A17D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" y="2047"/>
            <a:ext cx="4283423" cy="6855777"/>
          </a:xfrm>
          <a:prstGeom prst="rect">
            <a:avLst/>
          </a:prstGeom>
        </p:spPr>
      </p:pic>
      <p:sp>
        <p:nvSpPr>
          <p:cNvPr id="48" name="Partial Circle 47">
            <a:extLst>
              <a:ext uri="{FF2B5EF4-FFF2-40B4-BE49-F238E27FC236}">
                <a16:creationId xmlns:a16="http://schemas.microsoft.com/office/drawing/2014/main" id="{1ED02C89-493A-1FBF-AF5B-957A951A2950}"/>
              </a:ext>
            </a:extLst>
          </p:cNvPr>
          <p:cNvSpPr/>
          <p:nvPr/>
        </p:nvSpPr>
        <p:spPr>
          <a:xfrm>
            <a:off x="6739922" y="967588"/>
            <a:ext cx="5029200" cy="5029200"/>
          </a:xfrm>
          <a:prstGeom prst="pie">
            <a:avLst>
              <a:gd name="adj1" fmla="val 10805596"/>
              <a:gd name="adj2" fmla="val 16200000"/>
            </a:avLst>
          </a:prstGeom>
          <a:solidFill>
            <a:srgbClr val="E72B1E"/>
          </a:solidFill>
          <a:ln w="76200">
            <a:solidFill>
              <a:sysClr val="window" lastClr="FFFFFF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io</a:t>
            </a: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9" name="Partial Circle 48">
            <a:extLst>
              <a:ext uri="{FF2B5EF4-FFF2-40B4-BE49-F238E27FC236}">
                <a16:creationId xmlns:a16="http://schemas.microsoft.com/office/drawing/2014/main" id="{2BB59135-6331-D699-F240-FE1A0CDCD3BD}"/>
              </a:ext>
            </a:extLst>
          </p:cNvPr>
          <p:cNvSpPr/>
          <p:nvPr/>
        </p:nvSpPr>
        <p:spPr>
          <a:xfrm rot="5400000">
            <a:off x="6739922" y="967588"/>
            <a:ext cx="5029200" cy="5029200"/>
          </a:xfrm>
          <a:prstGeom prst="pie">
            <a:avLst>
              <a:gd name="adj1" fmla="val 10805596"/>
              <a:gd name="adj2" fmla="val 16200000"/>
            </a:avLst>
          </a:prstGeom>
          <a:solidFill>
            <a:srgbClr val="F5827B"/>
          </a:solidFill>
          <a:ln w="76200">
            <a:solidFill>
              <a:sysClr val="window" lastClr="FFFFFF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0" name="Partial Circle 49">
            <a:extLst>
              <a:ext uri="{FF2B5EF4-FFF2-40B4-BE49-F238E27FC236}">
                <a16:creationId xmlns:a16="http://schemas.microsoft.com/office/drawing/2014/main" id="{82A64542-618D-19AD-36CC-BB4DCF93E56A}"/>
              </a:ext>
            </a:extLst>
          </p:cNvPr>
          <p:cNvSpPr/>
          <p:nvPr/>
        </p:nvSpPr>
        <p:spPr>
          <a:xfrm rot="10800000">
            <a:off x="6739923" y="967589"/>
            <a:ext cx="5029200" cy="5029200"/>
          </a:xfrm>
          <a:prstGeom prst="pie">
            <a:avLst>
              <a:gd name="adj1" fmla="val 10805596"/>
              <a:gd name="adj2" fmla="val 16200000"/>
            </a:avLst>
          </a:prstGeom>
          <a:solidFill>
            <a:sysClr val="windowText" lastClr="000000">
              <a:lumMod val="65000"/>
              <a:lumOff val="35000"/>
            </a:sysClr>
          </a:solidFill>
          <a:ln w="76200">
            <a:solidFill>
              <a:sysClr val="window" lastClr="FFFFFF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1" name="Partial Circle 50">
            <a:extLst>
              <a:ext uri="{FF2B5EF4-FFF2-40B4-BE49-F238E27FC236}">
                <a16:creationId xmlns:a16="http://schemas.microsoft.com/office/drawing/2014/main" id="{27D416B8-4380-932E-BCE0-98663D74026C}"/>
              </a:ext>
            </a:extLst>
          </p:cNvPr>
          <p:cNvSpPr/>
          <p:nvPr/>
        </p:nvSpPr>
        <p:spPr>
          <a:xfrm rot="16200000">
            <a:off x="6739923" y="967589"/>
            <a:ext cx="5029200" cy="5029200"/>
          </a:xfrm>
          <a:prstGeom prst="pie">
            <a:avLst>
              <a:gd name="adj1" fmla="val 10805596"/>
              <a:gd name="adj2" fmla="val 16200000"/>
            </a:avLst>
          </a:prstGeom>
          <a:solidFill>
            <a:srgbClr val="666666">
              <a:lumMod val="60000"/>
              <a:lumOff val="40000"/>
            </a:srgbClr>
          </a:solidFill>
          <a:ln w="76200">
            <a:solidFill>
              <a:sysClr val="window" lastClr="FFFFFF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A0D988-E449-CED9-ADAB-AAFFAA4FC760}"/>
              </a:ext>
            </a:extLst>
          </p:cNvPr>
          <p:cNvSpPr/>
          <p:nvPr/>
        </p:nvSpPr>
        <p:spPr>
          <a:xfrm>
            <a:off x="8431562" y="2659228"/>
            <a:ext cx="1645920" cy="1645920"/>
          </a:xfrm>
          <a:prstGeom prst="ellipse">
            <a:avLst/>
          </a:prstGeom>
          <a:solidFill>
            <a:sysClr val="windowText" lastClr="000000"/>
          </a:solidFill>
          <a:ln w="76200">
            <a:solidFill>
              <a:sysClr val="window" lastClr="FFFFFF"/>
            </a:solidFill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983CD62-5446-BC50-9498-1C64491FE690}"/>
              </a:ext>
            </a:extLst>
          </p:cNvPr>
          <p:cNvSpPr txBox="1"/>
          <p:nvPr/>
        </p:nvSpPr>
        <p:spPr>
          <a:xfrm>
            <a:off x="8205443" y="3181791"/>
            <a:ext cx="20981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400">
                <a:solidFill>
                  <a:prstClr val="white"/>
                </a:solidFill>
                <a:latin typeface="Century Gothic" panose="020B0502020202020204" pitchFamily="34" charset="0"/>
              </a:rPr>
              <a:t>Innovation</a:t>
            </a:r>
            <a:r>
              <a:rPr lang="en-US" sz="1400" b="1">
                <a:solidFill>
                  <a:prstClr val="white"/>
                </a:solidFill>
                <a:latin typeface="Century Gothic" panose="020B0502020202020204" pitchFamily="34" charset="0"/>
              </a:rPr>
              <a:t> PERFORMANC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FCE804B-3E16-9AC3-A7E2-947A3E5D84A5}"/>
              </a:ext>
            </a:extLst>
          </p:cNvPr>
          <p:cNvSpPr txBox="1"/>
          <p:nvPr/>
        </p:nvSpPr>
        <p:spPr>
          <a:xfrm>
            <a:off x="7375971" y="2113366"/>
            <a:ext cx="14474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400">
                <a:solidFill>
                  <a:prstClr val="white"/>
                </a:solidFill>
                <a:latin typeface="Century Gothic" panose="020B0502020202020204" pitchFamily="34" charset="0"/>
              </a:rPr>
              <a:t>Strategic</a:t>
            </a:r>
            <a:r>
              <a:rPr lang="en-US" sz="1400" b="1">
                <a:solidFill>
                  <a:prstClr val="white"/>
                </a:solidFill>
                <a:latin typeface="Century Gothic" panose="020B0502020202020204" pitchFamily="34" charset="0"/>
              </a:rPr>
              <a:t> PRIORITI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020E08B-A606-7297-8211-C53E6CC14517}"/>
              </a:ext>
            </a:extLst>
          </p:cNvPr>
          <p:cNvSpPr txBox="1"/>
          <p:nvPr/>
        </p:nvSpPr>
        <p:spPr>
          <a:xfrm>
            <a:off x="9542507" y="2113366"/>
            <a:ext cx="16459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400">
                <a:solidFill>
                  <a:prstClr val="white"/>
                </a:solidFill>
                <a:latin typeface="Century Gothic" panose="020B0502020202020204" pitchFamily="34" charset="0"/>
              </a:rPr>
              <a:t>Innovation</a:t>
            </a:r>
            <a:r>
              <a:rPr lang="en-US" sz="1400" b="1">
                <a:solidFill>
                  <a:prstClr val="white"/>
                </a:solidFill>
                <a:latin typeface="Century Gothic" panose="020B0502020202020204" pitchFamily="34" charset="0"/>
              </a:rPr>
              <a:t> PATHWAY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EBF4423-7385-1576-7CE2-1D47C5136425}"/>
              </a:ext>
            </a:extLst>
          </p:cNvPr>
          <p:cNvSpPr txBox="1"/>
          <p:nvPr/>
        </p:nvSpPr>
        <p:spPr>
          <a:xfrm>
            <a:off x="9637488" y="4406437"/>
            <a:ext cx="14559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400" b="1">
                <a:solidFill>
                  <a:prstClr val="white"/>
                </a:solidFill>
                <a:latin typeface="Century Gothic" panose="020B0502020202020204" pitchFamily="34" charset="0"/>
              </a:rPr>
              <a:t>PORTFOLIO </a:t>
            </a:r>
            <a:r>
              <a:rPr lang="en-US" sz="1400">
                <a:solidFill>
                  <a:prstClr val="white"/>
                </a:solidFill>
                <a:latin typeface="Century Gothic" panose="020B0502020202020204" pitchFamily="34" charset="0"/>
              </a:rPr>
              <a:t>Governanc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C85FD80-E56C-609D-E625-24E9D0508762}"/>
              </a:ext>
            </a:extLst>
          </p:cNvPr>
          <p:cNvSpPr txBox="1"/>
          <p:nvPr/>
        </p:nvSpPr>
        <p:spPr>
          <a:xfrm>
            <a:off x="7402694" y="4406437"/>
            <a:ext cx="13940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200"/>
              </a:spcBef>
              <a:spcAft>
                <a:spcPts val="400"/>
              </a:spcAft>
              <a:defRPr/>
            </a:pPr>
            <a:r>
              <a:rPr lang="en-US" sz="1400" b="1">
                <a:solidFill>
                  <a:prstClr val="white"/>
                </a:solidFill>
                <a:latin typeface="Century Gothic" panose="020B0502020202020204" pitchFamily="34" charset="0"/>
              </a:rPr>
              <a:t>PEOPLE</a:t>
            </a:r>
            <a:r>
              <a:rPr lang="en-US" sz="1400">
                <a:solidFill>
                  <a:prstClr val="white"/>
                </a:solidFill>
                <a:latin typeface="Century Gothic" panose="020B0502020202020204" pitchFamily="34" charset="0"/>
              </a:rPr>
              <a:t>          &amp; CULTURE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57DA588-4251-851D-815E-02AB12AA30D6}"/>
              </a:ext>
            </a:extLst>
          </p:cNvPr>
          <p:cNvSpPr/>
          <p:nvPr/>
        </p:nvSpPr>
        <p:spPr>
          <a:xfrm>
            <a:off x="7695105" y="3262745"/>
            <a:ext cx="365760" cy="363488"/>
          </a:xfrm>
          <a:prstGeom prst="ellipse">
            <a:avLst/>
          </a:prstGeom>
          <a:solidFill>
            <a:srgbClr val="E72B1E"/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93B743DB-1E6C-553A-A1D5-CC66C72D00E1}"/>
              </a:ext>
            </a:extLst>
          </p:cNvPr>
          <p:cNvSpPr/>
          <p:nvPr/>
        </p:nvSpPr>
        <p:spPr>
          <a:xfrm>
            <a:off x="7240738" y="3322905"/>
            <a:ext cx="365760" cy="363488"/>
          </a:xfrm>
          <a:prstGeom prst="ellipse">
            <a:avLst/>
          </a:prstGeom>
          <a:solidFill>
            <a:srgbClr val="666666">
              <a:lumMod val="60000"/>
              <a:lumOff val="40000"/>
            </a:srgbClr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EC27AAC-AB86-7DED-3F2E-D63943A63A86}"/>
              </a:ext>
            </a:extLst>
          </p:cNvPr>
          <p:cNvSpPr/>
          <p:nvPr/>
        </p:nvSpPr>
        <p:spPr>
          <a:xfrm>
            <a:off x="9044722" y="1437741"/>
            <a:ext cx="365760" cy="363488"/>
          </a:xfrm>
          <a:prstGeom prst="ellipse">
            <a:avLst/>
          </a:prstGeom>
          <a:solidFill>
            <a:srgbClr val="E72B1E"/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6772BC0-A946-FEEC-12BE-9B37986F6D5D}"/>
              </a:ext>
            </a:extLst>
          </p:cNvPr>
          <p:cNvSpPr/>
          <p:nvPr/>
        </p:nvSpPr>
        <p:spPr>
          <a:xfrm>
            <a:off x="9104882" y="1882559"/>
            <a:ext cx="365760" cy="363488"/>
          </a:xfrm>
          <a:prstGeom prst="ellipse">
            <a:avLst/>
          </a:prstGeom>
          <a:solidFill>
            <a:srgbClr val="F5827B"/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53892BE-2EA1-91C1-A89A-A60F203CAC55}"/>
              </a:ext>
            </a:extLst>
          </p:cNvPr>
          <p:cNvSpPr/>
          <p:nvPr/>
        </p:nvSpPr>
        <p:spPr>
          <a:xfrm>
            <a:off x="10447497" y="3322905"/>
            <a:ext cx="365760" cy="363488"/>
          </a:xfrm>
          <a:prstGeom prst="ellipse">
            <a:avLst/>
          </a:prstGeom>
          <a:solidFill>
            <a:sysClr val="windowText" lastClr="000000">
              <a:lumMod val="65000"/>
              <a:lumOff val="35000"/>
            </a:sysClr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96E9097D-40E5-0796-30FA-615E5EC60768}"/>
              </a:ext>
            </a:extLst>
          </p:cNvPr>
          <p:cNvSpPr/>
          <p:nvPr/>
        </p:nvSpPr>
        <p:spPr>
          <a:xfrm>
            <a:off x="10894905" y="3262745"/>
            <a:ext cx="365760" cy="363488"/>
          </a:xfrm>
          <a:prstGeom prst="ellipse">
            <a:avLst/>
          </a:prstGeom>
          <a:solidFill>
            <a:srgbClr val="F5827B"/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5101810D-0FE9-D1E0-46ED-B0166973E4B5}"/>
              </a:ext>
            </a:extLst>
          </p:cNvPr>
          <p:cNvSpPr/>
          <p:nvPr/>
        </p:nvSpPr>
        <p:spPr>
          <a:xfrm>
            <a:off x="9104882" y="5067268"/>
            <a:ext cx="365760" cy="363488"/>
          </a:xfrm>
          <a:prstGeom prst="ellipse">
            <a:avLst/>
          </a:prstGeom>
          <a:solidFill>
            <a:sysClr val="windowText" lastClr="000000">
              <a:lumMod val="65000"/>
              <a:lumOff val="35000"/>
            </a:sysClr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E8127917-1A2C-E709-16FA-309F5B71799C}"/>
              </a:ext>
            </a:extLst>
          </p:cNvPr>
          <p:cNvSpPr/>
          <p:nvPr/>
        </p:nvSpPr>
        <p:spPr>
          <a:xfrm>
            <a:off x="9044722" y="4636326"/>
            <a:ext cx="365760" cy="363488"/>
          </a:xfrm>
          <a:prstGeom prst="ellipse">
            <a:avLst/>
          </a:prstGeom>
          <a:solidFill>
            <a:srgbClr val="666666">
              <a:lumMod val="60000"/>
              <a:lumOff val="40000"/>
            </a:srgbClr>
          </a:solidFill>
          <a:ln w="76200"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6" name="Arrow: Down 65">
            <a:extLst>
              <a:ext uri="{FF2B5EF4-FFF2-40B4-BE49-F238E27FC236}">
                <a16:creationId xmlns:a16="http://schemas.microsoft.com/office/drawing/2014/main" id="{3A3C67DF-E252-54FF-3F4C-C8EF708465F2}"/>
              </a:ext>
            </a:extLst>
          </p:cNvPr>
          <p:cNvSpPr/>
          <p:nvPr/>
        </p:nvSpPr>
        <p:spPr>
          <a:xfrm rot="18900000">
            <a:off x="8585600" y="2728688"/>
            <a:ext cx="137160" cy="320040"/>
          </a:xfrm>
          <a:prstGeom prst="downArrow">
            <a:avLst/>
          </a:prstGeom>
          <a:solidFill>
            <a:sysClr val="window" lastClr="FFFFFF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7" name="Arrow: Down 66">
            <a:extLst>
              <a:ext uri="{FF2B5EF4-FFF2-40B4-BE49-F238E27FC236}">
                <a16:creationId xmlns:a16="http://schemas.microsoft.com/office/drawing/2014/main" id="{E22365BF-CAFC-FFD8-24C7-A9D91DA8C814}"/>
              </a:ext>
            </a:extLst>
          </p:cNvPr>
          <p:cNvSpPr/>
          <p:nvPr/>
        </p:nvSpPr>
        <p:spPr>
          <a:xfrm rot="2700000">
            <a:off x="9751004" y="2728688"/>
            <a:ext cx="137160" cy="320040"/>
          </a:xfrm>
          <a:prstGeom prst="downArrow">
            <a:avLst/>
          </a:prstGeom>
          <a:solidFill>
            <a:sysClr val="window" lastClr="FFFFFF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8" name="Arrow: Down 67">
            <a:extLst>
              <a:ext uri="{FF2B5EF4-FFF2-40B4-BE49-F238E27FC236}">
                <a16:creationId xmlns:a16="http://schemas.microsoft.com/office/drawing/2014/main" id="{4BAEDED2-BD99-9FD3-2A12-59AACBF9A934}"/>
              </a:ext>
            </a:extLst>
          </p:cNvPr>
          <p:cNvSpPr/>
          <p:nvPr/>
        </p:nvSpPr>
        <p:spPr>
          <a:xfrm rot="8100000">
            <a:off x="9751004" y="3875946"/>
            <a:ext cx="137160" cy="320040"/>
          </a:xfrm>
          <a:prstGeom prst="downArrow">
            <a:avLst/>
          </a:prstGeom>
          <a:solidFill>
            <a:sysClr val="window" lastClr="FFFFFF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9" name="Arrow: Down 68">
            <a:extLst>
              <a:ext uri="{FF2B5EF4-FFF2-40B4-BE49-F238E27FC236}">
                <a16:creationId xmlns:a16="http://schemas.microsoft.com/office/drawing/2014/main" id="{5B4EFBD0-0C35-706B-0E11-73612085047F}"/>
              </a:ext>
            </a:extLst>
          </p:cNvPr>
          <p:cNvSpPr/>
          <p:nvPr/>
        </p:nvSpPr>
        <p:spPr>
          <a:xfrm rot="13500000">
            <a:off x="8585600" y="3875946"/>
            <a:ext cx="137160" cy="320040"/>
          </a:xfrm>
          <a:prstGeom prst="downArrow">
            <a:avLst/>
          </a:prstGeom>
          <a:solidFill>
            <a:sysClr val="window" lastClr="FFFFFF"/>
          </a:solidFill>
          <a:ln>
            <a:noFill/>
          </a:ln>
          <a:effectLst/>
          <a:scene3d>
            <a:camera prst="orthographicFront"/>
            <a:lightRig rig="threePt" dir="b"/>
          </a:scene3d>
          <a:sp3d prstMaterial="matte">
            <a:contourClr>
              <a:srgbClr val="225896">
                <a:tint val="10000"/>
                <a:satMod val="130000"/>
              </a:srgbClr>
            </a:contour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87C1BD8-FF9C-DED1-9542-94C8838562E3}"/>
              </a:ext>
            </a:extLst>
          </p:cNvPr>
          <p:cNvSpPr/>
          <p:nvPr/>
        </p:nvSpPr>
        <p:spPr>
          <a:xfrm>
            <a:off x="0" y="0"/>
            <a:ext cx="4397758" cy="6858000"/>
          </a:xfrm>
          <a:prstGeom prst="rect">
            <a:avLst/>
          </a:prstGeom>
          <a:solidFill>
            <a:schemeClr val="bg1">
              <a:alpha val="5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A361A1E-C53A-4D6A-A50D-885C086EF7D6}"/>
              </a:ext>
            </a:extLst>
          </p:cNvPr>
          <p:cNvGrpSpPr/>
          <p:nvPr/>
        </p:nvGrpSpPr>
        <p:grpSpPr>
          <a:xfrm>
            <a:off x="-14216" y="435231"/>
            <a:ext cx="6522638" cy="5992317"/>
            <a:chOff x="-14216" y="1041400"/>
            <a:chExt cx="6522638" cy="5992317"/>
          </a:xfrm>
        </p:grpSpPr>
        <p:sp>
          <p:nvSpPr>
            <p:cNvPr id="72" name="Arrow: Pentagon 71">
              <a:extLst>
                <a:ext uri="{FF2B5EF4-FFF2-40B4-BE49-F238E27FC236}">
                  <a16:creationId xmlns:a16="http://schemas.microsoft.com/office/drawing/2014/main" id="{6C9DC8A1-972D-F1A2-62CC-24BAFC156A08}"/>
                </a:ext>
              </a:extLst>
            </p:cNvPr>
            <p:cNvSpPr/>
            <p:nvPr/>
          </p:nvSpPr>
          <p:spPr>
            <a:xfrm>
              <a:off x="-14216" y="2294993"/>
              <a:ext cx="6522638" cy="3587002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3" name="Title 1">
              <a:extLst>
                <a:ext uri="{FF2B5EF4-FFF2-40B4-BE49-F238E27FC236}">
                  <a16:creationId xmlns:a16="http://schemas.microsoft.com/office/drawing/2014/main" id="{B06DAD34-293C-D61F-FAF8-29EA81740384}"/>
                </a:ext>
              </a:extLst>
            </p:cNvPr>
            <p:cNvSpPr txBox="1">
              <a:spLocks/>
            </p:cNvSpPr>
            <p:nvPr/>
          </p:nvSpPr>
          <p:spPr>
            <a:xfrm>
              <a:off x="583352" y="1041400"/>
              <a:ext cx="5107098" cy="5992317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9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It takes an </a:t>
              </a:r>
              <a:r>
                <a:rPr kumimoji="0" lang="en-US" sz="4800" b="1" i="1" u="none" strike="noStrike" kern="1200" cap="none" spc="0" normalizeH="0" baseline="0" noProof="0">
                  <a:ln>
                    <a:noFill/>
                  </a:ln>
                  <a:solidFill>
                    <a:srgbClr val="E72B1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innovation system </a:t>
              </a:r>
              <a:r>
                <a:rPr kumimoji="0" lang="en-US" sz="4800" b="1" i="0" u="none" strike="noStrike" kern="120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to drive </a:t>
              </a:r>
              <a:r>
                <a:rPr lang="en-US" sz="4800">
                  <a:solidFill>
                    <a:sysClr val="windowText" lastClr="000000"/>
                  </a:solidFill>
                  <a:latin typeface="Century Gothic" panose="020B0502020202020204" pitchFamily="34" charset="0"/>
                </a:rPr>
                <a:t>innovation performan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20206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rocket in space&#10;&#10;Description automatically generated">
            <a:extLst>
              <a:ext uri="{FF2B5EF4-FFF2-40B4-BE49-F238E27FC236}">
                <a16:creationId xmlns:a16="http://schemas.microsoft.com/office/drawing/2014/main" id="{76418DFC-2D71-FFC1-A51A-9CB239703E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61" b="9464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0EB41EA-E363-5BC6-BBDF-BF8077D2672F}"/>
              </a:ext>
            </a:extLst>
          </p:cNvPr>
          <p:cNvSpPr/>
          <p:nvPr/>
        </p:nvSpPr>
        <p:spPr>
          <a:xfrm>
            <a:off x="0" y="1959428"/>
            <a:ext cx="12192000" cy="347254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 b="1" dirty="0">
                <a:solidFill>
                  <a:schemeClr val="tx1"/>
                </a:solidFill>
              </a:rPr>
              <a:t>Poll: How would you characterize your company’s innovation approach?</a:t>
            </a:r>
          </a:p>
          <a:p>
            <a:pPr algn="ctr"/>
            <a:endParaRPr lang="en-US" sz="2600" b="1" dirty="0">
              <a:solidFill>
                <a:schemeClr val="tx1"/>
              </a:solidFill>
            </a:endParaRPr>
          </a:p>
          <a:p>
            <a:pPr algn="ctr"/>
            <a:endParaRPr lang="en-US" sz="2600" b="1" dirty="0">
              <a:solidFill>
                <a:schemeClr val="tx1"/>
              </a:solidFill>
            </a:endParaRPr>
          </a:p>
          <a:p>
            <a:pPr algn="ctr"/>
            <a:endParaRPr lang="en-US" sz="2600" b="1" dirty="0">
              <a:solidFill>
                <a:schemeClr val="tx1"/>
              </a:solidFill>
            </a:endParaRPr>
          </a:p>
          <a:p>
            <a:pPr algn="ctr"/>
            <a:endParaRPr lang="en-US" sz="2600" b="1" dirty="0">
              <a:solidFill>
                <a:schemeClr val="tx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58E768-B4FD-F423-27FB-42ADBF38E779}"/>
              </a:ext>
            </a:extLst>
          </p:cNvPr>
          <p:cNvCxnSpPr>
            <a:cxnSpLocks/>
          </p:cNvCxnSpPr>
          <p:nvPr/>
        </p:nvCxnSpPr>
        <p:spPr>
          <a:xfrm>
            <a:off x="2514600" y="3755572"/>
            <a:ext cx="7162800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9569E4B4-CFD0-08DB-0B1E-7A06A045A935}"/>
              </a:ext>
            </a:extLst>
          </p:cNvPr>
          <p:cNvSpPr/>
          <p:nvPr/>
        </p:nvSpPr>
        <p:spPr>
          <a:xfrm>
            <a:off x="9494520" y="3572692"/>
            <a:ext cx="365760" cy="36576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484DF51-810D-BAD6-5E5D-88933C1A0F33}"/>
              </a:ext>
            </a:extLst>
          </p:cNvPr>
          <p:cNvSpPr/>
          <p:nvPr/>
        </p:nvSpPr>
        <p:spPr>
          <a:xfrm>
            <a:off x="4161608" y="3572692"/>
            <a:ext cx="365760" cy="36576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A1BE8D8-FD8C-79FD-B24A-E0CE485EADF2}"/>
              </a:ext>
            </a:extLst>
          </p:cNvPr>
          <p:cNvSpPr/>
          <p:nvPr/>
        </p:nvSpPr>
        <p:spPr>
          <a:xfrm>
            <a:off x="5939245" y="3572692"/>
            <a:ext cx="365760" cy="36576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E884086-E01C-D6CB-F47F-347B141F535F}"/>
              </a:ext>
            </a:extLst>
          </p:cNvPr>
          <p:cNvSpPr/>
          <p:nvPr/>
        </p:nvSpPr>
        <p:spPr>
          <a:xfrm>
            <a:off x="7716882" y="3572692"/>
            <a:ext cx="365760" cy="36576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E7AFE1F-7DB0-F94E-BFBD-F329C4D7AE46}"/>
              </a:ext>
            </a:extLst>
          </p:cNvPr>
          <p:cNvSpPr/>
          <p:nvPr/>
        </p:nvSpPr>
        <p:spPr>
          <a:xfrm>
            <a:off x="2383971" y="3572692"/>
            <a:ext cx="365760" cy="36576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E39A7A-21F6-B484-CE2A-37D00F153976}"/>
              </a:ext>
            </a:extLst>
          </p:cNvPr>
          <p:cNvSpPr/>
          <p:nvPr/>
        </p:nvSpPr>
        <p:spPr>
          <a:xfrm>
            <a:off x="8953500" y="4121332"/>
            <a:ext cx="1447800" cy="522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Mature innovation system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E8C1B53-9CAF-DF3C-B25F-ABC5F8D74F08}"/>
              </a:ext>
            </a:extLst>
          </p:cNvPr>
          <p:cNvSpPr/>
          <p:nvPr/>
        </p:nvSpPr>
        <p:spPr>
          <a:xfrm>
            <a:off x="1718310" y="4121332"/>
            <a:ext cx="1592580" cy="522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d-hoc &amp; uncoordinate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931A3BB-50DA-9FB4-7724-07279FA4824E}"/>
              </a:ext>
            </a:extLst>
          </p:cNvPr>
          <p:cNvSpPr/>
          <p:nvPr/>
        </p:nvSpPr>
        <p:spPr>
          <a:xfrm>
            <a:off x="5372100" y="4121332"/>
            <a:ext cx="1447800" cy="522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Have pieces in place but work to do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B39E4F-7F64-8093-2FAE-14369C6A4E0C}"/>
              </a:ext>
            </a:extLst>
          </p:cNvPr>
          <p:cNvSpPr/>
          <p:nvPr/>
        </p:nvSpPr>
        <p:spPr>
          <a:xfrm>
            <a:off x="3620588" y="4121332"/>
            <a:ext cx="1447800" cy="522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Getting starte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503FE2-61F9-4E7B-341D-9C7A67EC6B8A}"/>
              </a:ext>
            </a:extLst>
          </p:cNvPr>
          <p:cNvSpPr/>
          <p:nvPr/>
        </p:nvSpPr>
        <p:spPr>
          <a:xfrm>
            <a:off x="7201988" y="4121332"/>
            <a:ext cx="1447800" cy="5225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Starting to hit our stride</a:t>
            </a:r>
          </a:p>
        </p:txBody>
      </p:sp>
    </p:spTree>
    <p:extLst>
      <p:ext uri="{BB962C8B-B14F-4D97-AF65-F5344CB8AC3E}">
        <p14:creationId xmlns:p14="http://schemas.microsoft.com/office/powerpoint/2010/main" val="40783718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arge cargo ship with many containers on the side&#10;&#10;Description automatically generated">
            <a:extLst>
              <a:ext uri="{FF2B5EF4-FFF2-40B4-BE49-F238E27FC236}">
                <a16:creationId xmlns:a16="http://schemas.microsoft.com/office/drawing/2014/main" id="{1EDF4E04-2BAE-0D78-F67C-7220033C5D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656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eg"/></Relationships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eg"/></Relationships>
</file>

<file path=ppt/theme/theme1.xml><?xml version="1.0" encoding="utf-8"?>
<a:theme xmlns:a="http://schemas.openxmlformats.org/drawingml/2006/main" name="Innosight 2023">
  <a:themeElements>
    <a:clrScheme name="Fills (recommended)">
      <a:dk1>
        <a:sysClr val="windowText" lastClr="000000"/>
      </a:dk1>
      <a:lt1>
        <a:sysClr val="window" lastClr="FFFFFF"/>
      </a:lt1>
      <a:dk2>
        <a:srgbClr val="666666"/>
      </a:dk2>
      <a:lt2>
        <a:srgbClr val="F2F2F2"/>
      </a:lt2>
      <a:accent1>
        <a:srgbClr val="225896"/>
      </a:accent1>
      <a:accent2>
        <a:srgbClr val="5C8C46"/>
      </a:accent2>
      <a:accent3>
        <a:srgbClr val="EF8200"/>
      </a:accent3>
      <a:accent4>
        <a:srgbClr val="DD291E"/>
      </a:accent4>
      <a:accent5>
        <a:srgbClr val="787878"/>
      </a:accent5>
      <a:accent6>
        <a:srgbClr val="4A83C6"/>
      </a:accent6>
      <a:hlink>
        <a:srgbClr val="225896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FD5E379D-CE72-4D16-9DB7-86750F50325C}" vid="{0A2204AF-755F-46FB-BB02-3A40C015B0A2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215795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w primary fills">
    <a:dk1>
      <a:sysClr val="windowText" lastClr="000000"/>
    </a:dk1>
    <a:lt1>
      <a:sysClr val="window" lastClr="FFFFFF"/>
    </a:lt1>
    <a:dk2>
      <a:srgbClr val="666666"/>
    </a:dk2>
    <a:lt2>
      <a:srgbClr val="F2F2F2"/>
    </a:lt2>
    <a:accent1>
      <a:srgbClr val="225896"/>
    </a:accent1>
    <a:accent2>
      <a:srgbClr val="5C8C46"/>
    </a:accent2>
    <a:accent3>
      <a:srgbClr val="EF8200"/>
    </a:accent3>
    <a:accent4>
      <a:srgbClr val="DD291E"/>
    </a:accent4>
    <a:accent5>
      <a:srgbClr val="787878"/>
    </a:accent5>
    <a:accent6>
      <a:srgbClr val="4A83C6"/>
    </a:accent6>
    <a:hlink>
      <a:srgbClr val="225896"/>
    </a:hlink>
    <a:folHlink>
      <a:srgbClr val="7030A0"/>
    </a:folHlink>
  </a:clrScheme>
  <a:fontScheme name="Custom 9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w primary fills">
    <a:dk1>
      <a:sysClr val="windowText" lastClr="000000"/>
    </a:dk1>
    <a:lt1>
      <a:sysClr val="window" lastClr="FFFFFF"/>
    </a:lt1>
    <a:dk2>
      <a:srgbClr val="666666"/>
    </a:dk2>
    <a:lt2>
      <a:srgbClr val="F2F2F2"/>
    </a:lt2>
    <a:accent1>
      <a:srgbClr val="225896"/>
    </a:accent1>
    <a:accent2>
      <a:srgbClr val="5C8C46"/>
    </a:accent2>
    <a:accent3>
      <a:srgbClr val="EF8200"/>
    </a:accent3>
    <a:accent4>
      <a:srgbClr val="DD291E"/>
    </a:accent4>
    <a:accent5>
      <a:srgbClr val="787878"/>
    </a:accent5>
    <a:accent6>
      <a:srgbClr val="4A83C6"/>
    </a:accent6>
    <a:hlink>
      <a:srgbClr val="225896"/>
    </a:hlink>
    <a:folHlink>
      <a:srgbClr val="7030A0"/>
    </a:folHlink>
  </a:clrScheme>
  <a:fontScheme name="Custom 9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Equity">
    <a: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tint val="30000"/>
              <a:satMod val="300000"/>
            </a:schemeClr>
            <a:schemeClr val="phClr">
              <a:tint val="40000"/>
              <a:satMod val="200000"/>
            </a:schemeClr>
          </a:duotone>
        </a:blip>
        <a:tile tx="0" ty="0" sx="70000" sy="70000" flip="none" algn="ctr"/>
      </a:blipFill>
      <a:blipFill>
        <a:blip xmlns:r="http://schemas.openxmlformats.org/officeDocument/2006/relationships" r:embed="rId1">
          <a:duotone>
            <a:schemeClr val="phClr">
              <a:shade val="22000"/>
              <a:satMod val="160000"/>
            </a:schemeClr>
            <a:schemeClr val="phClr">
              <a:shade val="45000"/>
              <a:satMod val="100000"/>
            </a:schemeClr>
          </a:duotone>
        </a:blip>
        <a:tile tx="0" ty="0" sx="65000" sy="65000" flip="none" algn="ctr"/>
      </a:blipFill>
    </a:fillStyleLst>
    <a:lnStyleLst>
      <a:ln w="9525" cap="flat" cmpd="sng" algn="ctr">
        <a:solidFill>
          <a:schemeClr val="phClr">
            <a:shade val="60000"/>
            <a:satMod val="110000"/>
          </a:schemeClr>
        </a:solidFill>
        <a:prstDash val="solid"/>
      </a:ln>
      <a:ln w="127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algn="t" rotWithShape="0">
            <a:srgbClr val="000000">
              <a:alpha val="50000"/>
            </a:srgbClr>
          </a:outerShdw>
        </a:effectLst>
      </a:effectStyle>
      <a:effectStyle>
        <a:effectLst>
          <a:outerShdw blurRad="50800" dist="50800" dir="5400000" algn="t" rotWithShape="0">
            <a:srgbClr val="000000">
              <a:alpha val="60000"/>
            </a:srgbClr>
          </a:outerShdw>
        </a:effectLst>
        <a:scene3d>
          <a:camera prst="isometricBottomUp" fov="0">
            <a:rot lat="0" lon="0" rev="0"/>
          </a:camera>
          <a:lightRig rig="soft" dir="b">
            <a:rot lat="0" lon="0" rev="9000000"/>
          </a:lightRig>
        </a:scene3d>
        <a:sp3d contourW="35000" prstMaterial="matte">
          <a:bevelT w="45000" h="38100" prst="convex"/>
          <a:contourClr>
            <a:schemeClr val="phClr">
              <a:tint val="10000"/>
              <a:satMod val="130000"/>
            </a:schemeClr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38e02ac-3b05-4110-ab19-f65420b58a95">
      <Terms xmlns="http://schemas.microsoft.com/office/infopath/2007/PartnerControls"/>
    </lcf76f155ced4ddcb4097134ff3c332f>
    <TaxCatchAll xmlns="32dcd8e0-6309-4fb5-beaf-f48a3e91c15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AD185C94B7FC4499E62239A2F93AEF8" ma:contentTypeVersion="16" ma:contentTypeDescription="Create a new document." ma:contentTypeScope="" ma:versionID="65d0fb3731fcb37b09d1f9286fb6ae55">
  <xsd:schema xmlns:xsd="http://www.w3.org/2001/XMLSchema" xmlns:xs="http://www.w3.org/2001/XMLSchema" xmlns:p="http://schemas.microsoft.com/office/2006/metadata/properties" xmlns:ns2="638e02ac-3b05-4110-ab19-f65420b58a95" xmlns:ns3="a8a246eb-f4d8-415b-ac3e-4f268503b3ad" xmlns:ns4="32dcd8e0-6309-4fb5-beaf-f48a3e91c15a" targetNamespace="http://schemas.microsoft.com/office/2006/metadata/properties" ma:root="true" ma:fieldsID="785d5fdf3a63d7254dcfae28ba5739c5" ns2:_="" ns3:_="" ns4:_="">
    <xsd:import namespace="638e02ac-3b05-4110-ab19-f65420b58a95"/>
    <xsd:import namespace="a8a246eb-f4d8-415b-ac3e-4f268503b3ad"/>
    <xsd:import namespace="32dcd8e0-6309-4fb5-beaf-f48a3e91c1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8e02ac-3b05-4110-ab19-f65420b58a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67bf36d-3fcc-4aa8-bfde-c80b0dc911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246eb-f4d8-415b-ac3e-4f268503b3a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dcd8e0-6309-4fb5-beaf-f48a3e91c15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61dc3c91-bc89-44a9-b8e3-38a59f225a64}" ma:internalName="TaxCatchAll" ma:showField="CatchAllData" ma:web="a8a246eb-f4d8-415b-ac3e-4f268503b3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22C0D78-9385-4E91-A4F3-8B5C63F0F44A}">
  <ds:schemaRefs>
    <ds:schemaRef ds:uri="http://schemas.microsoft.com/office/2006/metadata/properties"/>
    <ds:schemaRef ds:uri="http://schemas.microsoft.com/office/infopath/2007/PartnerControls"/>
    <ds:schemaRef ds:uri="638e02ac-3b05-4110-ab19-f65420b58a95"/>
    <ds:schemaRef ds:uri="32dcd8e0-6309-4fb5-beaf-f48a3e91c15a"/>
  </ds:schemaRefs>
</ds:datastoreItem>
</file>

<file path=customXml/itemProps2.xml><?xml version="1.0" encoding="utf-8"?>
<ds:datastoreItem xmlns:ds="http://schemas.openxmlformats.org/officeDocument/2006/customXml" ds:itemID="{3B870EC5-65F1-475E-B725-C7BB43FE57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8e02ac-3b05-4110-ab19-f65420b58a95"/>
    <ds:schemaRef ds:uri="a8a246eb-f4d8-415b-ac3e-4f268503b3ad"/>
    <ds:schemaRef ds:uri="32dcd8e0-6309-4fb5-beaf-f48a3e91c1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86E2287-CE99-4954-93AF-FB19279DD7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5</TotalTime>
  <Words>360</Words>
  <Application>Microsoft Office PowerPoint</Application>
  <PresentationFormat>Widescreen</PresentationFormat>
  <Paragraphs>73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Calibri</vt:lpstr>
      <vt:lpstr>Century Gothic</vt:lpstr>
      <vt:lpstr>Segoe UI</vt:lpstr>
      <vt:lpstr>Innosight 2023</vt:lpstr>
      <vt:lpstr>1_Office Theme</vt:lpstr>
      <vt:lpstr>think-cell Slide</vt:lpstr>
      <vt:lpstr>PowerPoint Presentation</vt:lpstr>
      <vt:lpstr>Change is the only constant</vt:lpstr>
      <vt:lpstr>Disruption is accelerating. Corporate lifespans are shrinking</vt:lpstr>
      <vt:lpstr>PowerPoint Presentation</vt:lpstr>
      <vt:lpstr>Individual Innovation Initiatives</vt:lpstr>
      <vt:lpstr>PowerPoint Presentation</vt:lpstr>
      <vt:lpstr>PowerPoint Presentation</vt:lpstr>
      <vt:lpstr>PowerPoint Presentation</vt:lpstr>
    </vt:vector>
  </TitlesOfParts>
  <Company>Hur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Veatch</dc:creator>
  <cp:lastModifiedBy>Anna Veatch</cp:lastModifiedBy>
  <cp:revision>4</cp:revision>
  <dcterms:created xsi:type="dcterms:W3CDTF">2024-01-26T15:52:31Z</dcterms:created>
  <dcterms:modified xsi:type="dcterms:W3CDTF">2024-02-14T17:4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D185C94B7FC4499E62239A2F93AEF8</vt:lpwstr>
  </property>
  <property fmtid="{D5CDD505-2E9C-101B-9397-08002B2CF9AE}" pid="3" name="MediaServiceImageTags">
    <vt:lpwstr/>
  </property>
</Properties>
</file>